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731" r:id="rId2"/>
    <p:sldMasterId id="2147483761" r:id="rId3"/>
    <p:sldMasterId id="2147483877" r:id="rId4"/>
    <p:sldMasterId id="2147483997" r:id="rId5"/>
  </p:sldMasterIdLst>
  <p:notesMasterIdLst>
    <p:notesMasterId r:id="rId23"/>
  </p:notesMasterIdLst>
  <p:sldIdLst>
    <p:sldId id="825" r:id="rId6"/>
    <p:sldId id="835" r:id="rId7"/>
    <p:sldId id="851" r:id="rId8"/>
    <p:sldId id="852" r:id="rId9"/>
    <p:sldId id="848" r:id="rId10"/>
    <p:sldId id="840" r:id="rId11"/>
    <p:sldId id="850" r:id="rId12"/>
    <p:sldId id="842" r:id="rId13"/>
    <p:sldId id="849" r:id="rId14"/>
    <p:sldId id="841" r:id="rId15"/>
    <p:sldId id="853" r:id="rId16"/>
    <p:sldId id="836" r:id="rId17"/>
    <p:sldId id="837" r:id="rId18"/>
    <p:sldId id="843" r:id="rId19"/>
    <p:sldId id="844" r:id="rId20"/>
    <p:sldId id="845" r:id="rId21"/>
    <p:sldId id="846" r:id="rId22"/>
  </p:sldIdLst>
  <p:sldSz cx="12192000" cy="6858000"/>
  <p:notesSz cx="6797675" cy="9928225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FC9"/>
    <a:srgbClr val="A6A6A6"/>
    <a:srgbClr val="FFD3A9"/>
    <a:srgbClr val="09ECFF"/>
    <a:srgbClr val="FFCD24"/>
    <a:srgbClr val="00B0F0"/>
    <a:srgbClr val="4AE3A9"/>
    <a:srgbClr val="FF809A"/>
    <a:srgbClr val="203864"/>
    <a:srgbClr val="7BC4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517" autoAdjust="0"/>
    <p:restoredTop sz="92015" autoAdjust="0"/>
  </p:normalViewPr>
  <p:slideViewPr>
    <p:cSldViewPr snapToGrid="0">
      <p:cViewPr varScale="1">
        <p:scale>
          <a:sx n="73" d="100"/>
          <a:sy n="73" d="100"/>
        </p:scale>
        <p:origin x="29" y="65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0E9C2BE-2A46-484E-8D82-F4B18576E4EB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E2F6498-7AA5-40FC-9E80-3CB86AE3FE7D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zh-CN" altLang="en-US" dirty="0"/>
            <a:t>特征工程</a:t>
          </a:r>
          <a:endParaRPr lang="en-US" dirty="0"/>
        </a:p>
      </dgm:t>
    </dgm:pt>
    <dgm:pt modelId="{EFB5E453-0BC7-4AF5-8FCB-0C5A59364A51}" type="parTrans" cxnId="{C5530AE4-B2DF-4542-8398-355A90462062}">
      <dgm:prSet/>
      <dgm:spPr/>
      <dgm:t>
        <a:bodyPr/>
        <a:lstStyle/>
        <a:p>
          <a:endParaRPr lang="en-US"/>
        </a:p>
      </dgm:t>
    </dgm:pt>
    <dgm:pt modelId="{EBBB6CB5-EEFB-4EBF-8B04-60A9FC49140E}" type="sibTrans" cxnId="{C5530AE4-B2DF-4542-8398-355A90462062}">
      <dgm:prSet/>
      <dgm:spPr/>
      <dgm:t>
        <a:bodyPr/>
        <a:lstStyle/>
        <a:p>
          <a:endParaRPr lang="en-US"/>
        </a:p>
      </dgm:t>
    </dgm:pt>
    <dgm:pt modelId="{14631A4B-DAC0-4694-BC41-7F6B61F5F9D5}">
      <dgm:prSet phldrT="[Text]"/>
      <dgm:spPr/>
      <dgm:t>
        <a:bodyPr/>
        <a:lstStyle/>
        <a:p>
          <a:r>
            <a:rPr lang="zh-CN" altLang="en-US" dirty="0"/>
            <a:t>缺失值补全</a:t>
          </a:r>
          <a:endParaRPr lang="en-US" dirty="0"/>
        </a:p>
      </dgm:t>
    </dgm:pt>
    <dgm:pt modelId="{7F2C943C-9CE3-4F75-AE57-06BAB9E4FA41}" type="parTrans" cxnId="{8D2390CF-4C29-4977-BE43-F4E3A26CDDD2}">
      <dgm:prSet/>
      <dgm:spPr/>
      <dgm:t>
        <a:bodyPr/>
        <a:lstStyle/>
        <a:p>
          <a:endParaRPr lang="en-US"/>
        </a:p>
      </dgm:t>
    </dgm:pt>
    <dgm:pt modelId="{0646D789-8729-40BF-9DFB-9DF4DB2079FD}" type="sibTrans" cxnId="{8D2390CF-4C29-4977-BE43-F4E3A26CDDD2}">
      <dgm:prSet/>
      <dgm:spPr/>
      <dgm:t>
        <a:bodyPr/>
        <a:lstStyle/>
        <a:p>
          <a:endParaRPr lang="en-US"/>
        </a:p>
      </dgm:t>
    </dgm:pt>
    <dgm:pt modelId="{DC3BD5A6-E5EA-47A5-B33C-B77A192F9C1D}">
      <dgm:prSet phldrT="[Text]"/>
      <dgm:spPr/>
      <dgm:t>
        <a:bodyPr/>
        <a:lstStyle/>
        <a:p>
          <a:r>
            <a:rPr lang="zh-CN" altLang="en-US" dirty="0"/>
            <a:t>数据标准化及正则化</a:t>
          </a:r>
          <a:endParaRPr lang="en-US" dirty="0"/>
        </a:p>
      </dgm:t>
    </dgm:pt>
    <dgm:pt modelId="{41103892-B084-45D1-AE78-E14E0558379E}" type="parTrans" cxnId="{73145ACC-51C3-48D7-B921-1F1321915E0B}">
      <dgm:prSet/>
      <dgm:spPr/>
      <dgm:t>
        <a:bodyPr/>
        <a:lstStyle/>
        <a:p>
          <a:endParaRPr lang="en-US"/>
        </a:p>
      </dgm:t>
    </dgm:pt>
    <dgm:pt modelId="{65A3819D-8305-44EF-A574-6C1097BED087}" type="sibTrans" cxnId="{73145ACC-51C3-48D7-B921-1F1321915E0B}">
      <dgm:prSet/>
      <dgm:spPr/>
      <dgm:t>
        <a:bodyPr/>
        <a:lstStyle/>
        <a:p>
          <a:endParaRPr lang="en-US"/>
        </a:p>
      </dgm:t>
    </dgm:pt>
    <dgm:pt modelId="{ECE7F524-7097-4669-AF74-46CD9ED61387}">
      <dgm:prSet phldrT="[Text]">
        <dgm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zh-CN" altLang="en-US" dirty="0"/>
            <a:t>模型构建</a:t>
          </a:r>
          <a:endParaRPr lang="en-US" dirty="0"/>
        </a:p>
      </dgm:t>
    </dgm:pt>
    <dgm:pt modelId="{C29999D0-32C3-4D6B-BEC6-DB56A379956A}" type="parTrans" cxnId="{69904A52-3574-426B-9905-EF25F167E50B}">
      <dgm:prSet/>
      <dgm:spPr/>
      <dgm:t>
        <a:bodyPr/>
        <a:lstStyle/>
        <a:p>
          <a:endParaRPr lang="en-US"/>
        </a:p>
      </dgm:t>
    </dgm:pt>
    <dgm:pt modelId="{1FD832CA-C494-48ED-89CB-974AD2EB3461}" type="sibTrans" cxnId="{69904A52-3574-426B-9905-EF25F167E50B}">
      <dgm:prSet/>
      <dgm:spPr/>
      <dgm:t>
        <a:bodyPr/>
        <a:lstStyle/>
        <a:p>
          <a:endParaRPr lang="en-US"/>
        </a:p>
      </dgm:t>
    </dgm:pt>
    <dgm:pt modelId="{A4B34250-CA6E-474A-B285-D417003DFF7D}">
      <dgm:prSet phldrT="[Text]"/>
      <dgm:spPr/>
      <dgm:t>
        <a:bodyPr/>
        <a:lstStyle/>
        <a:p>
          <a:r>
            <a:rPr lang="en-US" dirty="0"/>
            <a:t>Meta-Learning</a:t>
          </a:r>
          <a:r>
            <a:rPr lang="zh-CN" altLang="en-US" dirty="0"/>
            <a:t>算法</a:t>
          </a:r>
          <a:endParaRPr lang="en-US" dirty="0"/>
        </a:p>
      </dgm:t>
    </dgm:pt>
    <dgm:pt modelId="{2F7B678B-AD8E-4FA1-B743-D1AE58F4F566}" type="parTrans" cxnId="{91B3A4B9-0E18-4778-9856-E5EC0027E2B7}">
      <dgm:prSet/>
      <dgm:spPr/>
      <dgm:t>
        <a:bodyPr/>
        <a:lstStyle/>
        <a:p>
          <a:endParaRPr lang="en-US"/>
        </a:p>
      </dgm:t>
    </dgm:pt>
    <dgm:pt modelId="{4C6E3DAD-9121-4A3F-A519-AA20C28B4D1B}" type="sibTrans" cxnId="{91B3A4B9-0E18-4778-9856-E5EC0027E2B7}">
      <dgm:prSet/>
      <dgm:spPr/>
      <dgm:t>
        <a:bodyPr/>
        <a:lstStyle/>
        <a:p>
          <a:endParaRPr lang="en-US"/>
        </a:p>
      </dgm:t>
    </dgm:pt>
    <dgm:pt modelId="{7CE3EF61-66A4-423C-A6D3-7192A73B77A9}">
      <dgm:prSet phldrT="[Text]"/>
      <dgm:spPr/>
      <dgm:t>
        <a:bodyPr/>
        <a:lstStyle/>
        <a:p>
          <a:r>
            <a:rPr lang="en-US" dirty="0"/>
            <a:t>Grid Search</a:t>
          </a:r>
          <a:r>
            <a:rPr lang="zh-CN" altLang="en-US" dirty="0"/>
            <a:t>参数选择</a:t>
          </a:r>
          <a:endParaRPr lang="en-US" dirty="0"/>
        </a:p>
      </dgm:t>
    </dgm:pt>
    <dgm:pt modelId="{9A708963-E1FA-4B2C-B006-5615051FC0B9}" type="parTrans" cxnId="{E69E7AEA-D32B-46BF-B59A-3DD3CEE71DB4}">
      <dgm:prSet/>
      <dgm:spPr/>
      <dgm:t>
        <a:bodyPr/>
        <a:lstStyle/>
        <a:p>
          <a:endParaRPr lang="en-US"/>
        </a:p>
      </dgm:t>
    </dgm:pt>
    <dgm:pt modelId="{36D20E90-81EA-430A-9462-553440FC7A49}" type="sibTrans" cxnId="{E69E7AEA-D32B-46BF-B59A-3DD3CEE71DB4}">
      <dgm:prSet/>
      <dgm:spPr/>
      <dgm:t>
        <a:bodyPr/>
        <a:lstStyle/>
        <a:p>
          <a:endParaRPr lang="en-US"/>
        </a:p>
      </dgm:t>
    </dgm:pt>
    <dgm:pt modelId="{55F7D682-CF70-4F99-B75C-40EA1C3DD351}">
      <dgm:prSet phldrT="[Text]">
        <dgm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zh-CN" altLang="en-US" dirty="0"/>
            <a:t>集成学习</a:t>
          </a:r>
          <a:endParaRPr lang="en-US" dirty="0"/>
        </a:p>
      </dgm:t>
    </dgm:pt>
    <dgm:pt modelId="{8C23C8AE-E506-4D3F-A867-49F1B2BBAF90}" type="parTrans" cxnId="{AB7E8C33-B9DF-41DB-927A-8DB54AC710BE}">
      <dgm:prSet/>
      <dgm:spPr/>
      <dgm:t>
        <a:bodyPr/>
        <a:lstStyle/>
        <a:p>
          <a:endParaRPr lang="en-US"/>
        </a:p>
      </dgm:t>
    </dgm:pt>
    <dgm:pt modelId="{6EB07EDA-D957-4812-9015-561419BF57E5}" type="sibTrans" cxnId="{AB7E8C33-B9DF-41DB-927A-8DB54AC710BE}">
      <dgm:prSet/>
      <dgm:spPr/>
      <dgm:t>
        <a:bodyPr/>
        <a:lstStyle/>
        <a:p>
          <a:endParaRPr lang="en-US"/>
        </a:p>
      </dgm:t>
    </dgm:pt>
    <dgm:pt modelId="{F8FE4269-0430-40F5-9396-B07F660DCDA9}">
      <dgm:prSet phldrT="[Text]"/>
      <dgm:spPr/>
      <dgm:t>
        <a:bodyPr/>
        <a:lstStyle/>
        <a:p>
          <a:r>
            <a:rPr lang="en-US" dirty="0"/>
            <a:t>B</a:t>
          </a:r>
          <a:r>
            <a:rPr lang="en-US" altLang="zh-CN" dirty="0"/>
            <a:t>agging/ Averaging</a:t>
          </a:r>
          <a:endParaRPr lang="en-US" dirty="0"/>
        </a:p>
      </dgm:t>
    </dgm:pt>
    <dgm:pt modelId="{E3626A18-1E0E-4C89-B587-D7C0ED16BB1E}" type="parTrans" cxnId="{8FEC10EE-0069-41AB-A8A9-8E40396F08B6}">
      <dgm:prSet/>
      <dgm:spPr/>
      <dgm:t>
        <a:bodyPr/>
        <a:lstStyle/>
        <a:p>
          <a:endParaRPr lang="en-US"/>
        </a:p>
      </dgm:t>
    </dgm:pt>
    <dgm:pt modelId="{D5F3843D-D264-48EB-A620-074E89974E7B}" type="sibTrans" cxnId="{8FEC10EE-0069-41AB-A8A9-8E40396F08B6}">
      <dgm:prSet/>
      <dgm:spPr/>
      <dgm:t>
        <a:bodyPr/>
        <a:lstStyle/>
        <a:p>
          <a:endParaRPr lang="en-US"/>
        </a:p>
      </dgm:t>
    </dgm:pt>
    <dgm:pt modelId="{5AC610AF-2DB3-412B-B75F-4B6CFC3D9FD4}">
      <dgm:prSet phldrT="[Text]"/>
      <dgm:spPr/>
      <dgm:t>
        <a:bodyPr/>
        <a:lstStyle/>
        <a:p>
          <a:r>
            <a:rPr lang="en-US" dirty="0"/>
            <a:t>PCA</a:t>
          </a:r>
          <a:r>
            <a:rPr lang="zh-CN" altLang="en-US" dirty="0"/>
            <a:t>降维</a:t>
          </a:r>
          <a:endParaRPr lang="en-US" dirty="0"/>
        </a:p>
      </dgm:t>
    </dgm:pt>
    <dgm:pt modelId="{9136BDEA-1EC0-4392-805F-C1B548A3C174}" type="parTrans" cxnId="{13B63074-C490-4AB4-B8FA-E73DA890D598}">
      <dgm:prSet/>
      <dgm:spPr/>
      <dgm:t>
        <a:bodyPr/>
        <a:lstStyle/>
        <a:p>
          <a:endParaRPr lang="en-US"/>
        </a:p>
      </dgm:t>
    </dgm:pt>
    <dgm:pt modelId="{5D98757F-F621-42A3-9FC5-A60900F49A8E}" type="sibTrans" cxnId="{13B63074-C490-4AB4-B8FA-E73DA890D598}">
      <dgm:prSet/>
      <dgm:spPr/>
      <dgm:t>
        <a:bodyPr/>
        <a:lstStyle/>
        <a:p>
          <a:endParaRPr lang="en-US"/>
        </a:p>
      </dgm:t>
    </dgm:pt>
    <dgm:pt modelId="{371B3E65-7416-4DAC-93B4-FEA446ACADF2}">
      <dgm:prSet phldrT="[Text]"/>
      <dgm:spPr/>
      <dgm:t>
        <a:bodyPr/>
        <a:lstStyle/>
        <a:p>
          <a:r>
            <a:rPr lang="en-US" dirty="0"/>
            <a:t>O</a:t>
          </a:r>
          <a:r>
            <a:rPr lang="en-US" altLang="zh-CN" dirty="0"/>
            <a:t>ne-Hot Encoding</a:t>
          </a:r>
          <a:endParaRPr lang="en-US" dirty="0"/>
        </a:p>
      </dgm:t>
    </dgm:pt>
    <dgm:pt modelId="{C6136A4E-6478-4061-8CD6-0D4430B6813F}" type="parTrans" cxnId="{4231F10E-E8FA-44F1-BB86-64B07D3C4CE4}">
      <dgm:prSet/>
      <dgm:spPr/>
      <dgm:t>
        <a:bodyPr/>
        <a:lstStyle/>
        <a:p>
          <a:endParaRPr lang="en-US"/>
        </a:p>
      </dgm:t>
    </dgm:pt>
    <dgm:pt modelId="{5E41F1D3-11A5-4F47-8AD0-07F055D70BAF}" type="sibTrans" cxnId="{4231F10E-E8FA-44F1-BB86-64B07D3C4CE4}">
      <dgm:prSet/>
      <dgm:spPr/>
      <dgm:t>
        <a:bodyPr/>
        <a:lstStyle/>
        <a:p>
          <a:endParaRPr lang="en-US"/>
        </a:p>
      </dgm:t>
    </dgm:pt>
    <dgm:pt modelId="{F59E5F66-3CCD-43DF-A8BC-BA34E4C4C2B7}">
      <dgm:prSet phldrT="[Text]"/>
      <dgm:spPr/>
      <dgm:t>
        <a:bodyPr/>
        <a:lstStyle/>
        <a:p>
          <a:r>
            <a:rPr lang="en-US" dirty="0"/>
            <a:t>B</a:t>
          </a:r>
          <a:r>
            <a:rPr lang="en-US" altLang="zh-CN" dirty="0"/>
            <a:t>ayesian</a:t>
          </a:r>
          <a:r>
            <a:rPr lang="zh-CN" altLang="en-US" dirty="0"/>
            <a:t>超参选择</a:t>
          </a:r>
          <a:endParaRPr lang="en-US" dirty="0"/>
        </a:p>
      </dgm:t>
    </dgm:pt>
    <dgm:pt modelId="{D93C1056-41C3-413A-B4A0-86231D136DBA}" type="parTrans" cxnId="{689BDB68-8DA1-4B9E-82EC-D8A7E144DF5B}">
      <dgm:prSet/>
      <dgm:spPr/>
      <dgm:t>
        <a:bodyPr/>
        <a:lstStyle/>
        <a:p>
          <a:endParaRPr lang="en-US"/>
        </a:p>
      </dgm:t>
    </dgm:pt>
    <dgm:pt modelId="{60E2419A-3B44-4142-BEF0-AFF44EC17791}" type="sibTrans" cxnId="{689BDB68-8DA1-4B9E-82EC-D8A7E144DF5B}">
      <dgm:prSet/>
      <dgm:spPr/>
      <dgm:t>
        <a:bodyPr/>
        <a:lstStyle/>
        <a:p>
          <a:endParaRPr lang="en-US"/>
        </a:p>
      </dgm:t>
    </dgm:pt>
    <dgm:pt modelId="{6A48590F-9B2A-41AB-BDFC-B8B24539CDB4}">
      <dgm:prSet phldrT="[Text]"/>
      <dgm:spPr/>
      <dgm:t>
        <a:bodyPr/>
        <a:lstStyle/>
        <a:p>
          <a:r>
            <a:rPr lang="en-US" dirty="0"/>
            <a:t>S</a:t>
          </a:r>
          <a:r>
            <a:rPr lang="en-US" altLang="zh-CN" dirty="0"/>
            <a:t>tacking</a:t>
          </a:r>
          <a:endParaRPr lang="en-US" dirty="0"/>
        </a:p>
      </dgm:t>
    </dgm:pt>
    <dgm:pt modelId="{4439B9C4-CFAC-4284-8AC3-9906E3F83E1D}" type="parTrans" cxnId="{F4761096-8746-4C88-94BF-8146546AAB9C}">
      <dgm:prSet/>
      <dgm:spPr/>
      <dgm:t>
        <a:bodyPr/>
        <a:lstStyle/>
        <a:p>
          <a:endParaRPr lang="en-US"/>
        </a:p>
      </dgm:t>
    </dgm:pt>
    <dgm:pt modelId="{454F2D36-64A1-446B-B913-F26A120BB0C0}" type="sibTrans" cxnId="{F4761096-8746-4C88-94BF-8146546AAB9C}">
      <dgm:prSet/>
      <dgm:spPr/>
      <dgm:t>
        <a:bodyPr/>
        <a:lstStyle/>
        <a:p>
          <a:endParaRPr lang="en-US"/>
        </a:p>
      </dgm:t>
    </dgm:pt>
    <dgm:pt modelId="{4D20B533-E234-4775-AD57-6EB93ED8A5BB}">
      <dgm:prSet phldrT="[Text]"/>
      <dgm:spPr/>
      <dgm:t>
        <a:bodyPr/>
        <a:lstStyle/>
        <a:p>
          <a:r>
            <a:rPr lang="en-US" dirty="0"/>
            <a:t>Ensemble Selection</a:t>
          </a:r>
        </a:p>
      </dgm:t>
    </dgm:pt>
    <dgm:pt modelId="{B25FCAD4-4B65-42B1-B57C-2EC54B8DBA24}" type="parTrans" cxnId="{72ADE39D-C68F-4F3C-84BC-65FC9E4FDCC7}">
      <dgm:prSet/>
      <dgm:spPr/>
      <dgm:t>
        <a:bodyPr/>
        <a:lstStyle/>
        <a:p>
          <a:endParaRPr lang="en-US"/>
        </a:p>
      </dgm:t>
    </dgm:pt>
    <dgm:pt modelId="{CCD6FD6D-A660-4660-A55F-D27412BAFECB}" type="sibTrans" cxnId="{72ADE39D-C68F-4F3C-84BC-65FC9E4FDCC7}">
      <dgm:prSet/>
      <dgm:spPr/>
      <dgm:t>
        <a:bodyPr/>
        <a:lstStyle/>
        <a:p>
          <a:endParaRPr lang="en-US"/>
        </a:p>
      </dgm:t>
    </dgm:pt>
    <dgm:pt modelId="{72A1700D-A320-4757-A322-F47DFF5114CD}" type="pres">
      <dgm:prSet presAssocID="{D0E9C2BE-2A46-484E-8D82-F4B18576E4EB}" presName="linearFlow" presStyleCnt="0">
        <dgm:presLayoutVars>
          <dgm:dir/>
          <dgm:animLvl val="lvl"/>
          <dgm:resizeHandles val="exact"/>
        </dgm:presLayoutVars>
      </dgm:prSet>
      <dgm:spPr/>
    </dgm:pt>
    <dgm:pt modelId="{D82FE189-7F68-4658-BCF2-BC899DCD87E7}" type="pres">
      <dgm:prSet presAssocID="{EE2F6498-7AA5-40FC-9E80-3CB86AE3FE7D}" presName="composite" presStyleCnt="0"/>
      <dgm:spPr/>
    </dgm:pt>
    <dgm:pt modelId="{D5B545D3-8218-47E3-90A8-344DAF34D401}" type="pres">
      <dgm:prSet presAssocID="{EE2F6498-7AA5-40FC-9E80-3CB86AE3FE7D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3A283751-6F35-43E3-A36C-830474EA0BD4}" type="pres">
      <dgm:prSet presAssocID="{EE2F6498-7AA5-40FC-9E80-3CB86AE3FE7D}" presName="descendantText" presStyleLbl="alignAcc1" presStyleIdx="0" presStyleCnt="3" custLinFactNeighborX="229" custLinFactNeighborY="-1646">
        <dgm:presLayoutVars>
          <dgm:bulletEnabled val="1"/>
        </dgm:presLayoutVars>
      </dgm:prSet>
      <dgm:spPr/>
    </dgm:pt>
    <dgm:pt modelId="{A7810852-D5DB-44BB-BB27-5D17D1C8DAB9}" type="pres">
      <dgm:prSet presAssocID="{EBBB6CB5-EEFB-4EBF-8B04-60A9FC49140E}" presName="sp" presStyleCnt="0"/>
      <dgm:spPr/>
    </dgm:pt>
    <dgm:pt modelId="{9A81380E-D7D9-465A-8932-4754CB8FE0AA}" type="pres">
      <dgm:prSet presAssocID="{ECE7F524-7097-4669-AF74-46CD9ED61387}" presName="composite" presStyleCnt="0"/>
      <dgm:spPr/>
    </dgm:pt>
    <dgm:pt modelId="{35E29EBB-C4E0-4B20-BCEC-7DABABC8E81A}" type="pres">
      <dgm:prSet presAssocID="{ECE7F524-7097-4669-AF74-46CD9ED61387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9B293E3A-5066-4F9C-8EA2-ED7545E12C7C}" type="pres">
      <dgm:prSet presAssocID="{ECE7F524-7097-4669-AF74-46CD9ED61387}" presName="descendantText" presStyleLbl="alignAcc1" presStyleIdx="1" presStyleCnt="3">
        <dgm:presLayoutVars>
          <dgm:bulletEnabled val="1"/>
        </dgm:presLayoutVars>
      </dgm:prSet>
      <dgm:spPr/>
    </dgm:pt>
    <dgm:pt modelId="{C7846335-9D8C-4622-9FFE-E0F7AC5923E6}" type="pres">
      <dgm:prSet presAssocID="{1FD832CA-C494-48ED-89CB-974AD2EB3461}" presName="sp" presStyleCnt="0"/>
      <dgm:spPr/>
    </dgm:pt>
    <dgm:pt modelId="{740C6FE3-D157-46BD-AB42-ABFFF8B88387}" type="pres">
      <dgm:prSet presAssocID="{55F7D682-CF70-4F99-B75C-40EA1C3DD351}" presName="composite" presStyleCnt="0"/>
      <dgm:spPr/>
    </dgm:pt>
    <dgm:pt modelId="{3E1A00EC-8CFF-496B-8F8F-B701CC118F85}" type="pres">
      <dgm:prSet presAssocID="{55F7D682-CF70-4F99-B75C-40EA1C3DD351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5E5DCB08-2F0A-4079-9A8F-A05CB615141F}" type="pres">
      <dgm:prSet presAssocID="{55F7D682-CF70-4F99-B75C-40EA1C3DD351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0A407406-6BC2-4D4D-BCAD-AF15B4B4CC47}" type="presOf" srcId="{6A48590F-9B2A-41AB-BDFC-B8B24539CDB4}" destId="{5E5DCB08-2F0A-4079-9A8F-A05CB615141F}" srcOrd="0" destOrd="1" presId="urn:microsoft.com/office/officeart/2005/8/layout/chevron2"/>
    <dgm:cxn modelId="{D5E6CF0D-5E34-4EA1-B4AD-FC5F3E472C68}" type="presOf" srcId="{ECE7F524-7097-4669-AF74-46CD9ED61387}" destId="{35E29EBB-C4E0-4B20-BCEC-7DABABC8E81A}" srcOrd="0" destOrd="0" presId="urn:microsoft.com/office/officeart/2005/8/layout/chevron2"/>
    <dgm:cxn modelId="{4231F10E-E8FA-44F1-BB86-64B07D3C4CE4}" srcId="{EE2F6498-7AA5-40FC-9E80-3CB86AE3FE7D}" destId="{371B3E65-7416-4DAC-93B4-FEA446ACADF2}" srcOrd="2" destOrd="0" parTransId="{C6136A4E-6478-4061-8CD6-0D4430B6813F}" sibTransId="{5E41F1D3-11A5-4F47-8AD0-07F055D70BAF}"/>
    <dgm:cxn modelId="{AB7E8C33-B9DF-41DB-927A-8DB54AC710BE}" srcId="{D0E9C2BE-2A46-484E-8D82-F4B18576E4EB}" destId="{55F7D682-CF70-4F99-B75C-40EA1C3DD351}" srcOrd="2" destOrd="0" parTransId="{8C23C8AE-E506-4D3F-A867-49F1B2BBAF90}" sibTransId="{6EB07EDA-D957-4812-9015-561419BF57E5}"/>
    <dgm:cxn modelId="{F1D6613D-44CA-41F2-BC16-49B2EF32E0B7}" type="presOf" srcId="{DC3BD5A6-E5EA-47A5-B33C-B77A192F9C1D}" destId="{3A283751-6F35-43E3-A36C-830474EA0BD4}" srcOrd="0" destOrd="1" presId="urn:microsoft.com/office/officeart/2005/8/layout/chevron2"/>
    <dgm:cxn modelId="{66753140-68FB-4A27-8416-E194AD68DF6D}" type="presOf" srcId="{5AC610AF-2DB3-412B-B75F-4B6CFC3D9FD4}" destId="{3A283751-6F35-43E3-A36C-830474EA0BD4}" srcOrd="0" destOrd="3" presId="urn:microsoft.com/office/officeart/2005/8/layout/chevron2"/>
    <dgm:cxn modelId="{689BDB68-8DA1-4B9E-82EC-D8A7E144DF5B}" srcId="{ECE7F524-7097-4669-AF74-46CD9ED61387}" destId="{F59E5F66-3CCD-43DF-A8BC-BA34E4C4C2B7}" srcOrd="2" destOrd="0" parTransId="{D93C1056-41C3-413A-B4A0-86231D136DBA}" sibTransId="{60E2419A-3B44-4142-BEF0-AFF44EC17791}"/>
    <dgm:cxn modelId="{A9DB894C-E1D3-46B8-B9F8-D420E9B6831A}" type="presOf" srcId="{D0E9C2BE-2A46-484E-8D82-F4B18576E4EB}" destId="{72A1700D-A320-4757-A322-F47DFF5114CD}" srcOrd="0" destOrd="0" presId="urn:microsoft.com/office/officeart/2005/8/layout/chevron2"/>
    <dgm:cxn modelId="{69904A52-3574-426B-9905-EF25F167E50B}" srcId="{D0E9C2BE-2A46-484E-8D82-F4B18576E4EB}" destId="{ECE7F524-7097-4669-AF74-46CD9ED61387}" srcOrd="1" destOrd="0" parTransId="{C29999D0-32C3-4D6B-BEC6-DB56A379956A}" sibTransId="{1FD832CA-C494-48ED-89CB-974AD2EB3461}"/>
    <dgm:cxn modelId="{13B63074-C490-4AB4-B8FA-E73DA890D598}" srcId="{EE2F6498-7AA5-40FC-9E80-3CB86AE3FE7D}" destId="{5AC610AF-2DB3-412B-B75F-4B6CFC3D9FD4}" srcOrd="3" destOrd="0" parTransId="{9136BDEA-1EC0-4392-805F-C1B548A3C174}" sibTransId="{5D98757F-F621-42A3-9FC5-A60900F49A8E}"/>
    <dgm:cxn modelId="{C5D91A5A-7C54-4FFC-B7CE-D8AC6FEB3A1F}" type="presOf" srcId="{371B3E65-7416-4DAC-93B4-FEA446ACADF2}" destId="{3A283751-6F35-43E3-A36C-830474EA0BD4}" srcOrd="0" destOrd="2" presId="urn:microsoft.com/office/officeart/2005/8/layout/chevron2"/>
    <dgm:cxn modelId="{F4761096-8746-4C88-94BF-8146546AAB9C}" srcId="{55F7D682-CF70-4F99-B75C-40EA1C3DD351}" destId="{6A48590F-9B2A-41AB-BDFC-B8B24539CDB4}" srcOrd="1" destOrd="0" parTransId="{4439B9C4-CFAC-4284-8AC3-9906E3F83E1D}" sibTransId="{454F2D36-64A1-446B-B913-F26A120BB0C0}"/>
    <dgm:cxn modelId="{B583E099-EE01-4CEA-8B99-DD8F0DD2FEC8}" type="presOf" srcId="{4D20B533-E234-4775-AD57-6EB93ED8A5BB}" destId="{5E5DCB08-2F0A-4079-9A8F-A05CB615141F}" srcOrd="0" destOrd="2" presId="urn:microsoft.com/office/officeart/2005/8/layout/chevron2"/>
    <dgm:cxn modelId="{72ADE39D-C68F-4F3C-84BC-65FC9E4FDCC7}" srcId="{55F7D682-CF70-4F99-B75C-40EA1C3DD351}" destId="{4D20B533-E234-4775-AD57-6EB93ED8A5BB}" srcOrd="2" destOrd="0" parTransId="{B25FCAD4-4B65-42B1-B57C-2EC54B8DBA24}" sibTransId="{CCD6FD6D-A660-4660-A55F-D27412BAFECB}"/>
    <dgm:cxn modelId="{E08314A6-EB20-4B28-8D57-50F08E8C7DF6}" type="presOf" srcId="{7CE3EF61-66A4-423C-A6D3-7192A73B77A9}" destId="{9B293E3A-5066-4F9C-8EA2-ED7545E12C7C}" srcOrd="0" destOrd="1" presId="urn:microsoft.com/office/officeart/2005/8/layout/chevron2"/>
    <dgm:cxn modelId="{91B3A4B9-0E18-4778-9856-E5EC0027E2B7}" srcId="{ECE7F524-7097-4669-AF74-46CD9ED61387}" destId="{A4B34250-CA6E-474A-B285-D417003DFF7D}" srcOrd="0" destOrd="0" parTransId="{2F7B678B-AD8E-4FA1-B743-D1AE58F4F566}" sibTransId="{4C6E3DAD-9121-4A3F-A519-AA20C28B4D1B}"/>
    <dgm:cxn modelId="{73145ACC-51C3-48D7-B921-1F1321915E0B}" srcId="{EE2F6498-7AA5-40FC-9E80-3CB86AE3FE7D}" destId="{DC3BD5A6-E5EA-47A5-B33C-B77A192F9C1D}" srcOrd="1" destOrd="0" parTransId="{41103892-B084-45D1-AE78-E14E0558379E}" sibTransId="{65A3819D-8305-44EF-A574-6C1097BED087}"/>
    <dgm:cxn modelId="{8D2390CF-4C29-4977-BE43-F4E3A26CDDD2}" srcId="{EE2F6498-7AA5-40FC-9E80-3CB86AE3FE7D}" destId="{14631A4B-DAC0-4694-BC41-7F6B61F5F9D5}" srcOrd="0" destOrd="0" parTransId="{7F2C943C-9CE3-4F75-AE57-06BAB9E4FA41}" sibTransId="{0646D789-8729-40BF-9DFB-9DF4DB2079FD}"/>
    <dgm:cxn modelId="{E2FFEBD9-BA40-47FD-93B4-F4FFDFD72F3B}" type="presOf" srcId="{F8FE4269-0430-40F5-9396-B07F660DCDA9}" destId="{5E5DCB08-2F0A-4079-9A8F-A05CB615141F}" srcOrd="0" destOrd="0" presId="urn:microsoft.com/office/officeart/2005/8/layout/chevron2"/>
    <dgm:cxn modelId="{3DAB3EE1-1DEC-4041-8DA9-6D3AEC903EFC}" type="presOf" srcId="{14631A4B-DAC0-4694-BC41-7F6B61F5F9D5}" destId="{3A283751-6F35-43E3-A36C-830474EA0BD4}" srcOrd="0" destOrd="0" presId="urn:microsoft.com/office/officeart/2005/8/layout/chevron2"/>
    <dgm:cxn modelId="{C5530AE4-B2DF-4542-8398-355A90462062}" srcId="{D0E9C2BE-2A46-484E-8D82-F4B18576E4EB}" destId="{EE2F6498-7AA5-40FC-9E80-3CB86AE3FE7D}" srcOrd="0" destOrd="0" parTransId="{EFB5E453-0BC7-4AF5-8FCB-0C5A59364A51}" sibTransId="{EBBB6CB5-EEFB-4EBF-8B04-60A9FC49140E}"/>
    <dgm:cxn modelId="{1AA0ACE9-B59A-42FB-B62E-34B7D1D4C681}" type="presOf" srcId="{55F7D682-CF70-4F99-B75C-40EA1C3DD351}" destId="{3E1A00EC-8CFF-496B-8F8F-B701CC118F85}" srcOrd="0" destOrd="0" presId="urn:microsoft.com/office/officeart/2005/8/layout/chevron2"/>
    <dgm:cxn modelId="{E69E7AEA-D32B-46BF-B59A-3DD3CEE71DB4}" srcId="{ECE7F524-7097-4669-AF74-46CD9ED61387}" destId="{7CE3EF61-66A4-423C-A6D3-7192A73B77A9}" srcOrd="1" destOrd="0" parTransId="{9A708963-E1FA-4B2C-B006-5615051FC0B9}" sibTransId="{36D20E90-81EA-430A-9462-553440FC7A49}"/>
    <dgm:cxn modelId="{8FEC10EE-0069-41AB-A8A9-8E40396F08B6}" srcId="{55F7D682-CF70-4F99-B75C-40EA1C3DD351}" destId="{F8FE4269-0430-40F5-9396-B07F660DCDA9}" srcOrd="0" destOrd="0" parTransId="{E3626A18-1E0E-4C89-B587-D7C0ED16BB1E}" sibTransId="{D5F3843D-D264-48EB-A620-074E89974E7B}"/>
    <dgm:cxn modelId="{F99EA0F1-8AD7-4CB8-9FCF-49DC868DFD87}" type="presOf" srcId="{F59E5F66-3CCD-43DF-A8BC-BA34E4C4C2B7}" destId="{9B293E3A-5066-4F9C-8EA2-ED7545E12C7C}" srcOrd="0" destOrd="2" presId="urn:microsoft.com/office/officeart/2005/8/layout/chevron2"/>
    <dgm:cxn modelId="{70FB29FC-351C-4C54-9374-DDD05DA6590D}" type="presOf" srcId="{EE2F6498-7AA5-40FC-9E80-3CB86AE3FE7D}" destId="{D5B545D3-8218-47E3-90A8-344DAF34D401}" srcOrd="0" destOrd="0" presId="urn:microsoft.com/office/officeart/2005/8/layout/chevron2"/>
    <dgm:cxn modelId="{E93917FF-A7E6-4787-86B2-78B72332351F}" type="presOf" srcId="{A4B34250-CA6E-474A-B285-D417003DFF7D}" destId="{9B293E3A-5066-4F9C-8EA2-ED7545E12C7C}" srcOrd="0" destOrd="0" presId="urn:microsoft.com/office/officeart/2005/8/layout/chevron2"/>
    <dgm:cxn modelId="{26F80F8F-09DD-499B-B454-FDF80FF3CA5E}" type="presParOf" srcId="{72A1700D-A320-4757-A322-F47DFF5114CD}" destId="{D82FE189-7F68-4658-BCF2-BC899DCD87E7}" srcOrd="0" destOrd="0" presId="urn:microsoft.com/office/officeart/2005/8/layout/chevron2"/>
    <dgm:cxn modelId="{6CF208AA-0932-4665-AE63-F61FB46A3E44}" type="presParOf" srcId="{D82FE189-7F68-4658-BCF2-BC899DCD87E7}" destId="{D5B545D3-8218-47E3-90A8-344DAF34D401}" srcOrd="0" destOrd="0" presId="urn:microsoft.com/office/officeart/2005/8/layout/chevron2"/>
    <dgm:cxn modelId="{3968E6BE-E6DB-49BE-89D1-512E3343C8B3}" type="presParOf" srcId="{D82FE189-7F68-4658-BCF2-BC899DCD87E7}" destId="{3A283751-6F35-43E3-A36C-830474EA0BD4}" srcOrd="1" destOrd="0" presId="urn:microsoft.com/office/officeart/2005/8/layout/chevron2"/>
    <dgm:cxn modelId="{A2EDB367-D8E6-4CE1-9024-BFACC9C28B85}" type="presParOf" srcId="{72A1700D-A320-4757-A322-F47DFF5114CD}" destId="{A7810852-D5DB-44BB-BB27-5D17D1C8DAB9}" srcOrd="1" destOrd="0" presId="urn:microsoft.com/office/officeart/2005/8/layout/chevron2"/>
    <dgm:cxn modelId="{EE33B911-D821-45D7-9D73-1A8EFFDA93B6}" type="presParOf" srcId="{72A1700D-A320-4757-A322-F47DFF5114CD}" destId="{9A81380E-D7D9-465A-8932-4754CB8FE0AA}" srcOrd="2" destOrd="0" presId="urn:microsoft.com/office/officeart/2005/8/layout/chevron2"/>
    <dgm:cxn modelId="{9AAF45CD-E9B9-48FA-A9CE-C1F122E43B58}" type="presParOf" srcId="{9A81380E-D7D9-465A-8932-4754CB8FE0AA}" destId="{35E29EBB-C4E0-4B20-BCEC-7DABABC8E81A}" srcOrd="0" destOrd="0" presId="urn:microsoft.com/office/officeart/2005/8/layout/chevron2"/>
    <dgm:cxn modelId="{48FE20C1-2AD8-4BFD-AF91-5B932CBDDF97}" type="presParOf" srcId="{9A81380E-D7D9-465A-8932-4754CB8FE0AA}" destId="{9B293E3A-5066-4F9C-8EA2-ED7545E12C7C}" srcOrd="1" destOrd="0" presId="urn:microsoft.com/office/officeart/2005/8/layout/chevron2"/>
    <dgm:cxn modelId="{5B61EF4A-2DFC-4E32-A1BB-496035D42ED3}" type="presParOf" srcId="{72A1700D-A320-4757-A322-F47DFF5114CD}" destId="{C7846335-9D8C-4622-9FFE-E0F7AC5923E6}" srcOrd="3" destOrd="0" presId="urn:microsoft.com/office/officeart/2005/8/layout/chevron2"/>
    <dgm:cxn modelId="{46F1A660-D0C8-4C7B-A45C-B5E4FEE01B55}" type="presParOf" srcId="{72A1700D-A320-4757-A322-F47DFF5114CD}" destId="{740C6FE3-D157-46BD-AB42-ABFFF8B88387}" srcOrd="4" destOrd="0" presId="urn:microsoft.com/office/officeart/2005/8/layout/chevron2"/>
    <dgm:cxn modelId="{90180CB1-C0A6-4A70-B92D-EEE171B04638}" type="presParOf" srcId="{740C6FE3-D157-46BD-AB42-ABFFF8B88387}" destId="{3E1A00EC-8CFF-496B-8F8F-B701CC118F85}" srcOrd="0" destOrd="0" presId="urn:microsoft.com/office/officeart/2005/8/layout/chevron2"/>
    <dgm:cxn modelId="{A9A81849-E1C5-40E9-A1F9-D5AFC9A5C749}" type="presParOf" srcId="{740C6FE3-D157-46BD-AB42-ABFFF8B88387}" destId="{5E5DCB08-2F0A-4079-9A8F-A05CB615141F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2EFEA4C-0FCA-4929-9441-106B4552A95F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31A62E2-C36D-4D63-80FB-B3B24114FC0F}">
      <dgm:prSet phldrT="[Text]">
        <dgm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err="1">
              <a:solidFill>
                <a:schemeClr val="bg1"/>
              </a:solidFill>
            </a:rPr>
            <a:t>A</a:t>
          </a:r>
          <a:r>
            <a:rPr lang="en-US" altLang="zh-CN" dirty="0" err="1">
              <a:solidFill>
                <a:schemeClr val="bg1"/>
              </a:solidFill>
            </a:rPr>
            <a:t>utoML</a:t>
          </a:r>
          <a:endParaRPr lang="en-US" dirty="0">
            <a:solidFill>
              <a:schemeClr val="bg1"/>
            </a:solidFill>
          </a:endParaRPr>
        </a:p>
      </dgm:t>
    </dgm:pt>
    <dgm:pt modelId="{D7EE0EB1-6765-4B1E-B665-35BC81AF6E19}" type="parTrans" cxnId="{DB5CBE4B-6B49-422C-86EB-C31733BC49B6}">
      <dgm:prSet/>
      <dgm:spPr/>
      <dgm:t>
        <a:bodyPr/>
        <a:lstStyle/>
        <a:p>
          <a:endParaRPr lang="en-US"/>
        </a:p>
      </dgm:t>
    </dgm:pt>
    <dgm:pt modelId="{1D889179-9C2A-4CCD-AEA6-74FB852061AC}" type="sibTrans" cxnId="{DB5CBE4B-6B49-422C-86EB-C31733BC49B6}">
      <dgm:prSet/>
      <dgm:spPr/>
      <dgm:t>
        <a:bodyPr/>
        <a:lstStyle/>
        <a:p>
          <a:endParaRPr lang="en-US"/>
        </a:p>
      </dgm:t>
    </dgm:pt>
    <dgm:pt modelId="{46B1CE7D-A96F-4041-80F2-954521A9DBA3}">
      <dgm:prSet phldrT="[Text]">
        <dgm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zh-CN" altLang="en-US" dirty="0">
              <a:solidFill>
                <a:schemeClr val="bg1"/>
              </a:solidFill>
            </a:rPr>
            <a:t>优势</a:t>
          </a:r>
          <a:r>
            <a:rPr lang="en-US" altLang="zh-CN" dirty="0">
              <a:solidFill>
                <a:schemeClr val="bg1"/>
              </a:solidFill>
            </a:rPr>
            <a:t>:</a:t>
          </a:r>
          <a:r>
            <a:rPr lang="zh-CN" altLang="en-US" dirty="0">
              <a:solidFill>
                <a:schemeClr val="bg1"/>
              </a:solidFill>
            </a:rPr>
            <a:t>强大的深度模型及云计算能力</a:t>
          </a:r>
          <a:endParaRPr lang="en-US" dirty="0">
            <a:solidFill>
              <a:schemeClr val="bg1"/>
            </a:solidFill>
          </a:endParaRPr>
        </a:p>
      </dgm:t>
    </dgm:pt>
    <dgm:pt modelId="{62B8E04E-6738-4C67-90C7-0C0129CAF1B4}" type="parTrans" cxnId="{9A8B78BA-EA18-4331-9A45-B400A1C0AD74}">
      <dgm:prSet/>
      <dgm:spPr/>
      <dgm:t>
        <a:bodyPr/>
        <a:lstStyle/>
        <a:p>
          <a:endParaRPr lang="en-US"/>
        </a:p>
      </dgm:t>
    </dgm:pt>
    <dgm:pt modelId="{5E7C4173-B210-4F26-A4DA-FB5641DD429F}" type="sibTrans" cxnId="{9A8B78BA-EA18-4331-9A45-B400A1C0AD74}">
      <dgm:prSet/>
      <dgm:spPr/>
      <dgm:t>
        <a:bodyPr/>
        <a:lstStyle/>
        <a:p>
          <a:endParaRPr lang="en-US"/>
        </a:p>
      </dgm:t>
    </dgm:pt>
    <dgm:pt modelId="{39B27C5F-B5D2-47D9-9481-340ECEB87662}">
      <dgm:prSet phldrT="[Text]">
        <dgm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err="1">
              <a:solidFill>
                <a:schemeClr val="bg1"/>
              </a:solidFill>
            </a:rPr>
            <a:t>M</a:t>
          </a:r>
          <a:r>
            <a:rPr lang="en-US" altLang="zh-CN" dirty="0" err="1">
              <a:solidFill>
                <a:schemeClr val="bg1"/>
              </a:solidFill>
            </a:rPr>
            <a:t>etaLabs</a:t>
          </a:r>
          <a:endParaRPr lang="en-US" dirty="0">
            <a:solidFill>
              <a:schemeClr val="bg1"/>
            </a:solidFill>
          </a:endParaRPr>
        </a:p>
      </dgm:t>
    </dgm:pt>
    <dgm:pt modelId="{7EB9D6EE-7CD6-4ABC-AAFC-4C448CA0C17F}" type="parTrans" cxnId="{18D4145B-5986-4014-BAC7-0B0A039809F2}">
      <dgm:prSet/>
      <dgm:spPr/>
      <dgm:t>
        <a:bodyPr/>
        <a:lstStyle/>
        <a:p>
          <a:endParaRPr lang="en-US"/>
        </a:p>
      </dgm:t>
    </dgm:pt>
    <dgm:pt modelId="{5C4FC68C-66B7-428C-AE17-A909D1492AEA}" type="sibTrans" cxnId="{18D4145B-5986-4014-BAC7-0B0A039809F2}">
      <dgm:prSet/>
      <dgm:spPr/>
      <dgm:t>
        <a:bodyPr/>
        <a:lstStyle/>
        <a:p>
          <a:endParaRPr lang="en-US"/>
        </a:p>
      </dgm:t>
    </dgm:pt>
    <dgm:pt modelId="{3CAD0AFA-077D-452A-AC9A-CA0B466F368B}">
      <dgm:prSet phldrT="[Text]">
        <dgm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zh-CN" altLang="en-US" dirty="0">
              <a:solidFill>
                <a:schemeClr val="bg1"/>
              </a:solidFill>
            </a:rPr>
            <a:t>局限</a:t>
          </a:r>
          <a:r>
            <a:rPr lang="en-US" altLang="zh-CN" dirty="0">
              <a:solidFill>
                <a:schemeClr val="bg1"/>
              </a:solidFill>
            </a:rPr>
            <a:t>:</a:t>
          </a:r>
          <a:r>
            <a:rPr lang="zh-CN" altLang="en-US" dirty="0">
              <a:solidFill>
                <a:schemeClr val="bg1"/>
              </a:solidFill>
            </a:rPr>
            <a:t>仅支持分类问题，对应用框架及支持算法用户完全不了解，无对不同算法建模结果对比，无模型应用能力</a:t>
          </a:r>
          <a:endParaRPr lang="en-US" dirty="0">
            <a:solidFill>
              <a:schemeClr val="bg1"/>
            </a:solidFill>
          </a:endParaRPr>
        </a:p>
      </dgm:t>
    </dgm:pt>
    <dgm:pt modelId="{A6C1B6B2-EFEA-4007-B823-FD0078A89B28}" type="parTrans" cxnId="{B3AECB79-A748-4801-940F-608AC3672381}">
      <dgm:prSet/>
      <dgm:spPr/>
      <dgm:t>
        <a:bodyPr/>
        <a:lstStyle/>
        <a:p>
          <a:endParaRPr lang="en-US"/>
        </a:p>
      </dgm:t>
    </dgm:pt>
    <dgm:pt modelId="{313081F2-FD4D-4634-84DC-D0A7F12B38CF}" type="sibTrans" cxnId="{B3AECB79-A748-4801-940F-608AC3672381}">
      <dgm:prSet/>
      <dgm:spPr/>
      <dgm:t>
        <a:bodyPr/>
        <a:lstStyle/>
        <a:p>
          <a:endParaRPr lang="en-US"/>
        </a:p>
      </dgm:t>
    </dgm:pt>
    <dgm:pt modelId="{FA5C090C-6585-46BA-B848-FBC978B8F997}">
      <dgm:prSet phldrT="[Text]">
        <dgm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>
              <a:solidFill>
                <a:schemeClr val="bg1"/>
              </a:solidFill>
            </a:rPr>
            <a:t>Accenture AIP</a:t>
          </a:r>
        </a:p>
      </dgm:t>
    </dgm:pt>
    <dgm:pt modelId="{937887B7-6452-4458-BF7D-168B413C4076}" type="parTrans" cxnId="{B738A335-EDBC-4B31-9B2E-FD24448DD495}">
      <dgm:prSet/>
      <dgm:spPr/>
      <dgm:t>
        <a:bodyPr/>
        <a:lstStyle/>
        <a:p>
          <a:endParaRPr lang="en-US"/>
        </a:p>
      </dgm:t>
    </dgm:pt>
    <dgm:pt modelId="{7AA89DB6-AF8A-4D5F-AAAD-1921D7AD0C50}" type="sibTrans" cxnId="{B738A335-EDBC-4B31-9B2E-FD24448DD495}">
      <dgm:prSet/>
      <dgm:spPr/>
      <dgm:t>
        <a:bodyPr/>
        <a:lstStyle/>
        <a:p>
          <a:endParaRPr lang="en-US"/>
        </a:p>
      </dgm:t>
    </dgm:pt>
    <dgm:pt modelId="{21257633-0CB2-4958-AC83-CE5F39103351}">
      <dgm:prSet phldrT="[Text]">
        <dgm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zh-CN" altLang="en-US" dirty="0">
              <a:solidFill>
                <a:schemeClr val="bg1"/>
              </a:solidFill>
            </a:rPr>
            <a:t>局限</a:t>
          </a:r>
          <a:r>
            <a:rPr lang="en-US" altLang="zh-CN" dirty="0">
              <a:solidFill>
                <a:schemeClr val="bg1"/>
              </a:solidFill>
            </a:rPr>
            <a:t>:</a:t>
          </a:r>
          <a:r>
            <a:rPr lang="zh-CN" altLang="en-US" dirty="0">
              <a:solidFill>
                <a:schemeClr val="bg1"/>
              </a:solidFill>
            </a:rPr>
            <a:t>对部分应用实现，无通用平台，无接口供用户训练及应用，对算法可选择不明确</a:t>
          </a:r>
          <a:endParaRPr lang="en-US" dirty="0">
            <a:solidFill>
              <a:schemeClr val="bg1"/>
            </a:solidFill>
          </a:endParaRPr>
        </a:p>
      </dgm:t>
    </dgm:pt>
    <dgm:pt modelId="{0274ECE5-8C7D-4277-93FD-B25D01E21890}" type="parTrans" cxnId="{6717F0E9-100B-4BB4-9766-FF47613347B4}">
      <dgm:prSet/>
      <dgm:spPr/>
      <dgm:t>
        <a:bodyPr/>
        <a:lstStyle/>
        <a:p>
          <a:endParaRPr lang="en-US"/>
        </a:p>
      </dgm:t>
    </dgm:pt>
    <dgm:pt modelId="{87279897-8E2D-40A8-86AD-6813EAB2000A}" type="sibTrans" cxnId="{6717F0E9-100B-4BB4-9766-FF47613347B4}">
      <dgm:prSet/>
      <dgm:spPr/>
      <dgm:t>
        <a:bodyPr/>
        <a:lstStyle/>
        <a:p>
          <a:endParaRPr lang="en-US"/>
        </a:p>
      </dgm:t>
    </dgm:pt>
    <dgm:pt modelId="{17C02D2A-0D1A-4C92-8573-284C97D8CE1C}">
      <dgm:prSet phldrT="[Text]">
        <dgm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zh-CN" altLang="en-US" dirty="0">
              <a:solidFill>
                <a:schemeClr val="bg1"/>
              </a:solidFill>
            </a:rPr>
            <a:t>局限</a:t>
          </a:r>
          <a:r>
            <a:rPr lang="en-US" altLang="zh-CN" dirty="0">
              <a:solidFill>
                <a:schemeClr val="bg1"/>
              </a:solidFill>
            </a:rPr>
            <a:t>:</a:t>
          </a:r>
          <a:r>
            <a:rPr lang="zh-CN" altLang="en-US" dirty="0">
              <a:solidFill>
                <a:schemeClr val="bg1"/>
              </a:solidFill>
            </a:rPr>
            <a:t>仅支持语言模型、自然语言处理及图像处理，不支持数据建模，对大数据框架不支持</a:t>
          </a:r>
          <a:endParaRPr lang="en-US" dirty="0">
            <a:solidFill>
              <a:schemeClr val="bg1"/>
            </a:solidFill>
          </a:endParaRPr>
        </a:p>
      </dgm:t>
    </dgm:pt>
    <dgm:pt modelId="{339C7C35-3D9B-46DD-B8F7-D5AC625AB8A4}" type="parTrans" cxnId="{10AF8826-F7FE-4F60-AA6F-A68153DD6660}">
      <dgm:prSet/>
      <dgm:spPr/>
      <dgm:t>
        <a:bodyPr/>
        <a:lstStyle/>
        <a:p>
          <a:endParaRPr lang="en-US"/>
        </a:p>
      </dgm:t>
    </dgm:pt>
    <dgm:pt modelId="{830F3871-B393-4712-96EA-62453C0AE972}" type="sibTrans" cxnId="{10AF8826-F7FE-4F60-AA6F-A68153DD6660}">
      <dgm:prSet/>
      <dgm:spPr/>
      <dgm:t>
        <a:bodyPr/>
        <a:lstStyle/>
        <a:p>
          <a:endParaRPr lang="en-US"/>
        </a:p>
      </dgm:t>
    </dgm:pt>
    <dgm:pt modelId="{4031CA89-BD9D-46F5-A98F-6AA9E3D0EF7D}">
      <dgm:prSet phldrT="[Text]">
        <dgm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zh-CN" altLang="en-US" dirty="0">
              <a:solidFill>
                <a:schemeClr val="bg1"/>
              </a:solidFill>
            </a:rPr>
            <a:t>优势</a:t>
          </a:r>
          <a:r>
            <a:rPr lang="en-US" altLang="zh-CN" dirty="0">
              <a:solidFill>
                <a:schemeClr val="bg1"/>
              </a:solidFill>
            </a:rPr>
            <a:t>:</a:t>
          </a:r>
          <a:r>
            <a:rPr lang="zh-CN" altLang="en-US" dirty="0">
              <a:solidFill>
                <a:schemeClr val="bg1"/>
              </a:solidFill>
            </a:rPr>
            <a:t>用户无需关注实现细节</a:t>
          </a:r>
          <a:endParaRPr lang="en-US" dirty="0">
            <a:solidFill>
              <a:schemeClr val="bg1"/>
            </a:solidFill>
          </a:endParaRPr>
        </a:p>
      </dgm:t>
    </dgm:pt>
    <dgm:pt modelId="{6CAE1C60-0B47-4856-9B0A-AFD8198E5269}" type="parTrans" cxnId="{D8782FB8-8940-47E4-8252-60C37FCF1A6D}">
      <dgm:prSet/>
      <dgm:spPr/>
      <dgm:t>
        <a:bodyPr/>
        <a:lstStyle/>
        <a:p>
          <a:endParaRPr lang="en-US"/>
        </a:p>
      </dgm:t>
    </dgm:pt>
    <dgm:pt modelId="{829799A9-69AD-41C9-B5F8-E00F3D6BFC9A}" type="sibTrans" cxnId="{D8782FB8-8940-47E4-8252-60C37FCF1A6D}">
      <dgm:prSet/>
      <dgm:spPr/>
      <dgm:t>
        <a:bodyPr/>
        <a:lstStyle/>
        <a:p>
          <a:endParaRPr lang="en-US"/>
        </a:p>
      </dgm:t>
    </dgm:pt>
    <dgm:pt modelId="{754E38B6-6194-42E6-BB0B-7E9A1BC978DF}">
      <dgm:prSet phldrT="[Text]">
        <dgm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zh-CN" altLang="en-US" dirty="0">
              <a:solidFill>
                <a:schemeClr val="bg1"/>
              </a:solidFill>
            </a:rPr>
            <a:t>优势</a:t>
          </a:r>
          <a:r>
            <a:rPr lang="en-US" altLang="zh-CN" dirty="0">
              <a:solidFill>
                <a:schemeClr val="bg1"/>
              </a:solidFill>
            </a:rPr>
            <a:t>:</a:t>
          </a:r>
          <a:r>
            <a:rPr lang="zh-CN" altLang="en-US" dirty="0">
              <a:solidFill>
                <a:schemeClr val="bg1"/>
              </a:solidFill>
            </a:rPr>
            <a:t>针对指定商用模式定制化实现，大量的样例化应用</a:t>
          </a:r>
          <a:endParaRPr lang="en-US" dirty="0">
            <a:solidFill>
              <a:schemeClr val="bg1"/>
            </a:solidFill>
          </a:endParaRPr>
        </a:p>
      </dgm:t>
    </dgm:pt>
    <dgm:pt modelId="{9E5FAF2D-B2AB-42B1-9436-E6A4B8F4766B}" type="parTrans" cxnId="{E8D90BEB-9318-470E-8865-619E871109D6}">
      <dgm:prSet/>
      <dgm:spPr/>
      <dgm:t>
        <a:bodyPr/>
        <a:lstStyle/>
        <a:p>
          <a:endParaRPr lang="en-US"/>
        </a:p>
      </dgm:t>
    </dgm:pt>
    <dgm:pt modelId="{077398A7-475D-4ED6-B4B1-D5DEC8AB3BDD}" type="sibTrans" cxnId="{E8D90BEB-9318-470E-8865-619E871109D6}">
      <dgm:prSet/>
      <dgm:spPr/>
      <dgm:t>
        <a:bodyPr/>
        <a:lstStyle/>
        <a:p>
          <a:endParaRPr lang="en-US"/>
        </a:p>
      </dgm:t>
    </dgm:pt>
    <dgm:pt modelId="{00F0BC8A-59E0-4504-A0B4-F354E35C97AB}" type="pres">
      <dgm:prSet presAssocID="{E2EFEA4C-0FCA-4929-9441-106B4552A95F}" presName="Name0" presStyleCnt="0">
        <dgm:presLayoutVars>
          <dgm:dir/>
          <dgm:animLvl val="lvl"/>
          <dgm:resizeHandles val="exact"/>
        </dgm:presLayoutVars>
      </dgm:prSet>
      <dgm:spPr/>
    </dgm:pt>
    <dgm:pt modelId="{194497F4-85FE-4103-9265-4D6D318F107C}" type="pres">
      <dgm:prSet presAssocID="{831A62E2-C36D-4D63-80FB-B3B24114FC0F}" presName="composite" presStyleCnt="0"/>
      <dgm:spPr/>
    </dgm:pt>
    <dgm:pt modelId="{8E2C467E-62FE-4F40-B838-39B1035B19FB}" type="pres">
      <dgm:prSet presAssocID="{831A62E2-C36D-4D63-80FB-B3B24114FC0F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20B6ED3D-506F-4CC1-A38F-41A758BF3D9C}" type="pres">
      <dgm:prSet presAssocID="{831A62E2-C36D-4D63-80FB-B3B24114FC0F}" presName="desTx" presStyleLbl="alignAccFollowNode1" presStyleIdx="0" presStyleCnt="3">
        <dgm:presLayoutVars>
          <dgm:bulletEnabled val="1"/>
        </dgm:presLayoutVars>
      </dgm:prSet>
      <dgm:spPr/>
    </dgm:pt>
    <dgm:pt modelId="{A71D0492-8B34-4E34-9D81-2C51B568EF80}" type="pres">
      <dgm:prSet presAssocID="{1D889179-9C2A-4CCD-AEA6-74FB852061AC}" presName="space" presStyleCnt="0"/>
      <dgm:spPr/>
    </dgm:pt>
    <dgm:pt modelId="{B4575EEC-AFB3-4AE5-BEBE-BE308F988BD3}" type="pres">
      <dgm:prSet presAssocID="{39B27C5F-B5D2-47D9-9481-340ECEB87662}" presName="composite" presStyleCnt="0"/>
      <dgm:spPr/>
    </dgm:pt>
    <dgm:pt modelId="{5C73A40A-0B42-4F13-908F-B309847BBE0B}" type="pres">
      <dgm:prSet presAssocID="{39B27C5F-B5D2-47D9-9481-340ECEB87662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DA7FE69D-989A-4D60-900B-F994C1376CCE}" type="pres">
      <dgm:prSet presAssocID="{39B27C5F-B5D2-47D9-9481-340ECEB87662}" presName="desTx" presStyleLbl="alignAccFollowNode1" presStyleIdx="1" presStyleCnt="3">
        <dgm:presLayoutVars>
          <dgm:bulletEnabled val="1"/>
        </dgm:presLayoutVars>
      </dgm:prSet>
      <dgm:spPr/>
    </dgm:pt>
    <dgm:pt modelId="{173B8BF4-B9F1-4A94-BEC8-3184E11D82AD}" type="pres">
      <dgm:prSet presAssocID="{5C4FC68C-66B7-428C-AE17-A909D1492AEA}" presName="space" presStyleCnt="0"/>
      <dgm:spPr/>
    </dgm:pt>
    <dgm:pt modelId="{F28D5201-E0B3-47BB-994B-112B625D0B71}" type="pres">
      <dgm:prSet presAssocID="{FA5C090C-6585-46BA-B848-FBC978B8F997}" presName="composite" presStyleCnt="0"/>
      <dgm:spPr/>
    </dgm:pt>
    <dgm:pt modelId="{0DD2126C-05BA-485D-B7A7-BD693DE80C46}" type="pres">
      <dgm:prSet presAssocID="{FA5C090C-6585-46BA-B848-FBC978B8F997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BAE64A8E-B2C5-437B-920E-86D2126D1794}" type="pres">
      <dgm:prSet presAssocID="{FA5C090C-6585-46BA-B848-FBC978B8F997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CD0A8910-CD64-4EEF-AD7D-249C0DF4FA18}" type="presOf" srcId="{E2EFEA4C-0FCA-4929-9441-106B4552A95F}" destId="{00F0BC8A-59E0-4504-A0B4-F354E35C97AB}" srcOrd="0" destOrd="0" presId="urn:microsoft.com/office/officeart/2005/8/layout/hList1"/>
    <dgm:cxn modelId="{45F2CA12-1BE1-4885-8F0B-BE474A74E0CA}" type="presOf" srcId="{17C02D2A-0D1A-4C92-8573-284C97D8CE1C}" destId="{20B6ED3D-506F-4CC1-A38F-41A758BF3D9C}" srcOrd="0" destOrd="1" presId="urn:microsoft.com/office/officeart/2005/8/layout/hList1"/>
    <dgm:cxn modelId="{10AF8826-F7FE-4F60-AA6F-A68153DD6660}" srcId="{831A62E2-C36D-4D63-80FB-B3B24114FC0F}" destId="{17C02D2A-0D1A-4C92-8573-284C97D8CE1C}" srcOrd="1" destOrd="0" parTransId="{339C7C35-3D9B-46DD-B8F7-D5AC625AB8A4}" sibTransId="{830F3871-B393-4712-96EA-62453C0AE972}"/>
    <dgm:cxn modelId="{B738A335-EDBC-4B31-9B2E-FD24448DD495}" srcId="{E2EFEA4C-0FCA-4929-9441-106B4552A95F}" destId="{FA5C090C-6585-46BA-B848-FBC978B8F997}" srcOrd="2" destOrd="0" parTransId="{937887B7-6452-4458-BF7D-168B413C4076}" sibTransId="{7AA89DB6-AF8A-4D5F-AAAD-1921D7AD0C50}"/>
    <dgm:cxn modelId="{18D4145B-5986-4014-BAC7-0B0A039809F2}" srcId="{E2EFEA4C-0FCA-4929-9441-106B4552A95F}" destId="{39B27C5F-B5D2-47D9-9481-340ECEB87662}" srcOrd="1" destOrd="0" parTransId="{7EB9D6EE-7CD6-4ABC-AAFC-4C448CA0C17F}" sibTransId="{5C4FC68C-66B7-428C-AE17-A909D1492AEA}"/>
    <dgm:cxn modelId="{7C77EB5D-A785-431D-94D9-F9ED5DF43D58}" type="presOf" srcId="{FA5C090C-6585-46BA-B848-FBC978B8F997}" destId="{0DD2126C-05BA-485D-B7A7-BD693DE80C46}" srcOrd="0" destOrd="0" presId="urn:microsoft.com/office/officeart/2005/8/layout/hList1"/>
    <dgm:cxn modelId="{15CE7E43-02E1-452A-89B5-B0D631F55284}" type="presOf" srcId="{754E38B6-6194-42E6-BB0B-7E9A1BC978DF}" destId="{BAE64A8E-B2C5-437B-920E-86D2126D1794}" srcOrd="0" destOrd="0" presId="urn:microsoft.com/office/officeart/2005/8/layout/hList1"/>
    <dgm:cxn modelId="{FCDF6368-6549-490A-9F5E-BF3C782D1EC6}" type="presOf" srcId="{46B1CE7D-A96F-4041-80F2-954521A9DBA3}" destId="{20B6ED3D-506F-4CC1-A38F-41A758BF3D9C}" srcOrd="0" destOrd="0" presId="urn:microsoft.com/office/officeart/2005/8/layout/hList1"/>
    <dgm:cxn modelId="{DB5CBE4B-6B49-422C-86EB-C31733BC49B6}" srcId="{E2EFEA4C-0FCA-4929-9441-106B4552A95F}" destId="{831A62E2-C36D-4D63-80FB-B3B24114FC0F}" srcOrd="0" destOrd="0" parTransId="{D7EE0EB1-6765-4B1E-B665-35BC81AF6E19}" sibTransId="{1D889179-9C2A-4CCD-AEA6-74FB852061AC}"/>
    <dgm:cxn modelId="{2E765672-F9A7-4195-8186-D4FCA54A31D9}" type="presOf" srcId="{4031CA89-BD9D-46F5-A98F-6AA9E3D0EF7D}" destId="{DA7FE69D-989A-4D60-900B-F994C1376CCE}" srcOrd="0" destOrd="0" presId="urn:microsoft.com/office/officeart/2005/8/layout/hList1"/>
    <dgm:cxn modelId="{B3AECB79-A748-4801-940F-608AC3672381}" srcId="{39B27C5F-B5D2-47D9-9481-340ECEB87662}" destId="{3CAD0AFA-077D-452A-AC9A-CA0B466F368B}" srcOrd="1" destOrd="0" parTransId="{A6C1B6B2-EFEA-4007-B823-FD0078A89B28}" sibTransId="{313081F2-FD4D-4634-84DC-D0A7F12B38CF}"/>
    <dgm:cxn modelId="{EE931EA3-4033-4448-9D39-0CA9795CDF2B}" type="presOf" srcId="{3CAD0AFA-077D-452A-AC9A-CA0B466F368B}" destId="{DA7FE69D-989A-4D60-900B-F994C1376CCE}" srcOrd="0" destOrd="1" presId="urn:microsoft.com/office/officeart/2005/8/layout/hList1"/>
    <dgm:cxn modelId="{1C8639A7-29F0-4D89-968A-2C11FA0E14BB}" type="presOf" srcId="{831A62E2-C36D-4D63-80FB-B3B24114FC0F}" destId="{8E2C467E-62FE-4F40-B838-39B1035B19FB}" srcOrd="0" destOrd="0" presId="urn:microsoft.com/office/officeart/2005/8/layout/hList1"/>
    <dgm:cxn modelId="{D8782FB8-8940-47E4-8252-60C37FCF1A6D}" srcId="{39B27C5F-B5D2-47D9-9481-340ECEB87662}" destId="{4031CA89-BD9D-46F5-A98F-6AA9E3D0EF7D}" srcOrd="0" destOrd="0" parTransId="{6CAE1C60-0B47-4856-9B0A-AFD8198E5269}" sibTransId="{829799A9-69AD-41C9-B5F8-E00F3D6BFC9A}"/>
    <dgm:cxn modelId="{9A8B78BA-EA18-4331-9A45-B400A1C0AD74}" srcId="{831A62E2-C36D-4D63-80FB-B3B24114FC0F}" destId="{46B1CE7D-A96F-4041-80F2-954521A9DBA3}" srcOrd="0" destOrd="0" parTransId="{62B8E04E-6738-4C67-90C7-0C0129CAF1B4}" sibTransId="{5E7C4173-B210-4F26-A4DA-FB5641DD429F}"/>
    <dgm:cxn modelId="{EB958DCC-5600-42DA-95C6-E22131F7ECC9}" type="presOf" srcId="{39B27C5F-B5D2-47D9-9481-340ECEB87662}" destId="{5C73A40A-0B42-4F13-908F-B309847BBE0B}" srcOrd="0" destOrd="0" presId="urn:microsoft.com/office/officeart/2005/8/layout/hList1"/>
    <dgm:cxn modelId="{354329E0-20A3-4213-9758-CF0ED1AABD96}" type="presOf" srcId="{21257633-0CB2-4958-AC83-CE5F39103351}" destId="{BAE64A8E-B2C5-437B-920E-86D2126D1794}" srcOrd="0" destOrd="1" presId="urn:microsoft.com/office/officeart/2005/8/layout/hList1"/>
    <dgm:cxn modelId="{6717F0E9-100B-4BB4-9766-FF47613347B4}" srcId="{FA5C090C-6585-46BA-B848-FBC978B8F997}" destId="{21257633-0CB2-4958-AC83-CE5F39103351}" srcOrd="1" destOrd="0" parTransId="{0274ECE5-8C7D-4277-93FD-B25D01E21890}" sibTransId="{87279897-8E2D-40A8-86AD-6813EAB2000A}"/>
    <dgm:cxn modelId="{E8D90BEB-9318-470E-8865-619E871109D6}" srcId="{FA5C090C-6585-46BA-B848-FBC978B8F997}" destId="{754E38B6-6194-42E6-BB0B-7E9A1BC978DF}" srcOrd="0" destOrd="0" parTransId="{9E5FAF2D-B2AB-42B1-9436-E6A4B8F4766B}" sibTransId="{077398A7-475D-4ED6-B4B1-D5DEC8AB3BDD}"/>
    <dgm:cxn modelId="{3C7B2237-F251-4490-9F23-A2D002E1DEF0}" type="presParOf" srcId="{00F0BC8A-59E0-4504-A0B4-F354E35C97AB}" destId="{194497F4-85FE-4103-9265-4D6D318F107C}" srcOrd="0" destOrd="0" presId="urn:microsoft.com/office/officeart/2005/8/layout/hList1"/>
    <dgm:cxn modelId="{BFFFF25F-2302-4085-8FDF-DB309EF3B597}" type="presParOf" srcId="{194497F4-85FE-4103-9265-4D6D318F107C}" destId="{8E2C467E-62FE-4F40-B838-39B1035B19FB}" srcOrd="0" destOrd="0" presId="urn:microsoft.com/office/officeart/2005/8/layout/hList1"/>
    <dgm:cxn modelId="{F36A3D89-3E19-40F3-AEDC-9EFF9EFA9E12}" type="presParOf" srcId="{194497F4-85FE-4103-9265-4D6D318F107C}" destId="{20B6ED3D-506F-4CC1-A38F-41A758BF3D9C}" srcOrd="1" destOrd="0" presId="urn:microsoft.com/office/officeart/2005/8/layout/hList1"/>
    <dgm:cxn modelId="{966871FA-C5B5-486A-8249-110B3273CC53}" type="presParOf" srcId="{00F0BC8A-59E0-4504-A0B4-F354E35C97AB}" destId="{A71D0492-8B34-4E34-9D81-2C51B568EF80}" srcOrd="1" destOrd="0" presId="urn:microsoft.com/office/officeart/2005/8/layout/hList1"/>
    <dgm:cxn modelId="{21674801-8BF4-4D0B-83B9-1717E4D13342}" type="presParOf" srcId="{00F0BC8A-59E0-4504-A0B4-F354E35C97AB}" destId="{B4575EEC-AFB3-4AE5-BEBE-BE308F988BD3}" srcOrd="2" destOrd="0" presId="urn:microsoft.com/office/officeart/2005/8/layout/hList1"/>
    <dgm:cxn modelId="{451645BE-40FE-47CB-ABB9-7DCC41E20D20}" type="presParOf" srcId="{B4575EEC-AFB3-4AE5-BEBE-BE308F988BD3}" destId="{5C73A40A-0B42-4F13-908F-B309847BBE0B}" srcOrd="0" destOrd="0" presId="urn:microsoft.com/office/officeart/2005/8/layout/hList1"/>
    <dgm:cxn modelId="{A6F0F28E-ECBA-461A-8449-F549EBB73555}" type="presParOf" srcId="{B4575EEC-AFB3-4AE5-BEBE-BE308F988BD3}" destId="{DA7FE69D-989A-4D60-900B-F994C1376CCE}" srcOrd="1" destOrd="0" presId="urn:microsoft.com/office/officeart/2005/8/layout/hList1"/>
    <dgm:cxn modelId="{FDC01690-2B5E-4229-8023-9555FB04FB70}" type="presParOf" srcId="{00F0BC8A-59E0-4504-A0B4-F354E35C97AB}" destId="{173B8BF4-B9F1-4A94-BEC8-3184E11D82AD}" srcOrd="3" destOrd="0" presId="urn:microsoft.com/office/officeart/2005/8/layout/hList1"/>
    <dgm:cxn modelId="{6CD262D7-5579-4A04-9844-15F269315B8D}" type="presParOf" srcId="{00F0BC8A-59E0-4504-A0B4-F354E35C97AB}" destId="{F28D5201-E0B3-47BB-994B-112B625D0B71}" srcOrd="4" destOrd="0" presId="urn:microsoft.com/office/officeart/2005/8/layout/hList1"/>
    <dgm:cxn modelId="{D33E462A-5451-40F2-932B-314C50713957}" type="presParOf" srcId="{F28D5201-E0B3-47BB-994B-112B625D0B71}" destId="{0DD2126C-05BA-485D-B7A7-BD693DE80C46}" srcOrd="0" destOrd="0" presId="urn:microsoft.com/office/officeart/2005/8/layout/hList1"/>
    <dgm:cxn modelId="{E1AF4673-C17F-4FF3-8172-C1CAA9F854BB}" type="presParOf" srcId="{F28D5201-E0B3-47BB-994B-112B625D0B71}" destId="{BAE64A8E-B2C5-437B-920E-86D2126D179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4227308-FC3E-43DF-9ADC-C15DEE7F4CF9}" type="doc">
      <dgm:prSet loTypeId="urn:microsoft.com/office/officeart/2005/8/layout/targe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23FF43D-AD68-4763-9D96-76B3266A21DB}">
      <dgm:prSet phldrT="[Text]"/>
      <dgm:spPr/>
      <dgm:t>
        <a:bodyPr/>
        <a:lstStyle/>
        <a:p>
          <a:r>
            <a:rPr lang="zh-CN" altLang="en-US" dirty="0"/>
            <a:t>算法定制化选择</a:t>
          </a:r>
          <a:endParaRPr lang="en-US" dirty="0"/>
        </a:p>
      </dgm:t>
    </dgm:pt>
    <dgm:pt modelId="{3335D52B-8580-4680-9193-6130E4C44EFB}" type="parTrans" cxnId="{E61CEB79-0DA3-4CF2-8AAB-6E7AFBF76323}">
      <dgm:prSet/>
      <dgm:spPr/>
      <dgm:t>
        <a:bodyPr/>
        <a:lstStyle/>
        <a:p>
          <a:endParaRPr lang="en-US"/>
        </a:p>
      </dgm:t>
    </dgm:pt>
    <dgm:pt modelId="{D8274C39-2752-47F1-9F6A-3ABA274A6B2F}" type="sibTrans" cxnId="{E61CEB79-0DA3-4CF2-8AAB-6E7AFBF76323}">
      <dgm:prSet/>
      <dgm:spPr/>
      <dgm:t>
        <a:bodyPr/>
        <a:lstStyle/>
        <a:p>
          <a:endParaRPr lang="en-US"/>
        </a:p>
      </dgm:t>
    </dgm:pt>
    <dgm:pt modelId="{C75548FB-9069-428A-9A21-BE8F190C820B}">
      <dgm:prSet phldrT="[Text]"/>
      <dgm:spPr/>
      <dgm:t>
        <a:bodyPr/>
        <a:lstStyle/>
        <a:p>
          <a:r>
            <a:rPr lang="zh-CN" altLang="en-US" dirty="0"/>
            <a:t>传统机器学习算法</a:t>
          </a:r>
          <a:endParaRPr lang="en-US" dirty="0"/>
        </a:p>
      </dgm:t>
    </dgm:pt>
    <dgm:pt modelId="{1565A041-99DC-414A-B499-6DFBA44AAE77}" type="parTrans" cxnId="{62083A18-B8FA-4FFC-AF3D-2812B8BCD16F}">
      <dgm:prSet/>
      <dgm:spPr/>
      <dgm:t>
        <a:bodyPr/>
        <a:lstStyle/>
        <a:p>
          <a:endParaRPr lang="en-US"/>
        </a:p>
      </dgm:t>
    </dgm:pt>
    <dgm:pt modelId="{20F7C6CE-1F1D-425E-8282-FCD0A3E10A3F}" type="sibTrans" cxnId="{62083A18-B8FA-4FFC-AF3D-2812B8BCD16F}">
      <dgm:prSet/>
      <dgm:spPr/>
      <dgm:t>
        <a:bodyPr/>
        <a:lstStyle/>
        <a:p>
          <a:endParaRPr lang="en-US"/>
        </a:p>
      </dgm:t>
    </dgm:pt>
    <dgm:pt modelId="{292E051B-072A-40FA-9DB5-54296922DFF8}">
      <dgm:prSet phldrT="[Text]"/>
      <dgm:spPr/>
      <dgm:t>
        <a:bodyPr/>
        <a:lstStyle/>
        <a:p>
          <a:r>
            <a:rPr lang="zh-CN" altLang="en-US" dirty="0"/>
            <a:t>多种具体应用选择</a:t>
          </a:r>
          <a:endParaRPr lang="en-US" dirty="0"/>
        </a:p>
      </dgm:t>
    </dgm:pt>
    <dgm:pt modelId="{D3C8ADA9-1D3B-4358-BD05-CD738C44514B}" type="parTrans" cxnId="{EF8D2723-DA43-4258-B822-2B0784DC1E82}">
      <dgm:prSet/>
      <dgm:spPr/>
      <dgm:t>
        <a:bodyPr/>
        <a:lstStyle/>
        <a:p>
          <a:endParaRPr lang="en-US"/>
        </a:p>
      </dgm:t>
    </dgm:pt>
    <dgm:pt modelId="{D2489DA2-9331-4A71-9572-326D8EE54CF5}" type="sibTrans" cxnId="{EF8D2723-DA43-4258-B822-2B0784DC1E82}">
      <dgm:prSet/>
      <dgm:spPr/>
      <dgm:t>
        <a:bodyPr/>
        <a:lstStyle/>
        <a:p>
          <a:endParaRPr lang="en-US"/>
        </a:p>
      </dgm:t>
    </dgm:pt>
    <dgm:pt modelId="{34EBB61C-1E1A-4E57-BA42-F7AEDDAA1F30}">
      <dgm:prSet phldrT="[Text]"/>
      <dgm:spPr/>
      <dgm:t>
        <a:bodyPr/>
        <a:lstStyle/>
        <a:p>
          <a:r>
            <a:rPr lang="zh-CN" altLang="en-US" dirty="0"/>
            <a:t>分类问题</a:t>
          </a:r>
          <a:endParaRPr lang="en-US" dirty="0"/>
        </a:p>
      </dgm:t>
    </dgm:pt>
    <dgm:pt modelId="{1B5080CE-1D52-4917-9A88-D378169849B8}" type="parTrans" cxnId="{8DAFEBE4-EE58-485D-8B11-E6B293FC3121}">
      <dgm:prSet/>
      <dgm:spPr/>
      <dgm:t>
        <a:bodyPr/>
        <a:lstStyle/>
        <a:p>
          <a:endParaRPr lang="en-US"/>
        </a:p>
      </dgm:t>
    </dgm:pt>
    <dgm:pt modelId="{4A689434-5155-464B-B403-08B271C14D9F}" type="sibTrans" cxnId="{8DAFEBE4-EE58-485D-8B11-E6B293FC3121}">
      <dgm:prSet/>
      <dgm:spPr/>
      <dgm:t>
        <a:bodyPr/>
        <a:lstStyle/>
        <a:p>
          <a:endParaRPr lang="en-US"/>
        </a:p>
      </dgm:t>
    </dgm:pt>
    <dgm:pt modelId="{8139CAFE-FC1C-4FF6-AFAF-641B2FB496E4}">
      <dgm:prSet phldrT="[Text]"/>
      <dgm:spPr/>
      <dgm:t>
        <a:bodyPr/>
        <a:lstStyle/>
        <a:p>
          <a:r>
            <a:rPr lang="zh-CN" altLang="en-US" dirty="0"/>
            <a:t>应用框架定制化选择</a:t>
          </a:r>
          <a:endParaRPr lang="en-US" dirty="0"/>
        </a:p>
      </dgm:t>
    </dgm:pt>
    <dgm:pt modelId="{BC0AE3A4-D004-4AB9-BC66-34CF212A4CBA}" type="parTrans" cxnId="{634EF956-D072-437E-A60F-820F11C5D19F}">
      <dgm:prSet/>
      <dgm:spPr/>
      <dgm:t>
        <a:bodyPr/>
        <a:lstStyle/>
        <a:p>
          <a:endParaRPr lang="en-US"/>
        </a:p>
      </dgm:t>
    </dgm:pt>
    <dgm:pt modelId="{B52BC395-C5F8-4D42-A54D-52D22DD849D4}" type="sibTrans" cxnId="{634EF956-D072-437E-A60F-820F11C5D19F}">
      <dgm:prSet/>
      <dgm:spPr/>
      <dgm:t>
        <a:bodyPr/>
        <a:lstStyle/>
        <a:p>
          <a:endParaRPr lang="en-US"/>
        </a:p>
      </dgm:t>
    </dgm:pt>
    <dgm:pt modelId="{CA68A8BF-0A2A-456B-9355-F46280B380D0}">
      <dgm:prSet phldrT="[Text]"/>
      <dgm:spPr/>
      <dgm:t>
        <a:bodyPr/>
        <a:lstStyle/>
        <a:p>
          <a:r>
            <a:rPr lang="en-US" dirty="0"/>
            <a:t>T</a:t>
          </a:r>
          <a:r>
            <a:rPr lang="en-US" altLang="zh-CN" dirty="0"/>
            <a:t>ensorFlow</a:t>
          </a:r>
          <a:endParaRPr lang="en-US" dirty="0"/>
        </a:p>
      </dgm:t>
    </dgm:pt>
    <dgm:pt modelId="{CE674EF9-C42B-4D46-8A24-831E81AA7DA5}" type="parTrans" cxnId="{B729B38C-E0CF-4575-818F-29E7E4FC3E1A}">
      <dgm:prSet/>
      <dgm:spPr/>
      <dgm:t>
        <a:bodyPr/>
        <a:lstStyle/>
        <a:p>
          <a:endParaRPr lang="en-US"/>
        </a:p>
      </dgm:t>
    </dgm:pt>
    <dgm:pt modelId="{17A55289-9105-436F-86DD-7263D755FDD7}" type="sibTrans" cxnId="{B729B38C-E0CF-4575-818F-29E7E4FC3E1A}">
      <dgm:prSet/>
      <dgm:spPr/>
      <dgm:t>
        <a:bodyPr/>
        <a:lstStyle/>
        <a:p>
          <a:endParaRPr lang="en-US"/>
        </a:p>
      </dgm:t>
    </dgm:pt>
    <dgm:pt modelId="{0FA5DE06-2446-44FF-B56C-04A80CF345C4}">
      <dgm:prSet phldrT="[Text]"/>
      <dgm:spPr/>
      <dgm:t>
        <a:bodyPr/>
        <a:lstStyle/>
        <a:p>
          <a:r>
            <a:rPr lang="en-US" dirty="0" err="1"/>
            <a:t>P</a:t>
          </a:r>
          <a:r>
            <a:rPr lang="en-US" altLang="zh-CN" dirty="0" err="1"/>
            <a:t>ySpark</a:t>
          </a:r>
          <a:endParaRPr lang="en-US" dirty="0"/>
        </a:p>
      </dgm:t>
    </dgm:pt>
    <dgm:pt modelId="{869F2792-CCEF-453B-A83B-8696056EF642}" type="parTrans" cxnId="{DBBDB2D5-6F75-4487-A572-44C1D71FC9B9}">
      <dgm:prSet/>
      <dgm:spPr/>
      <dgm:t>
        <a:bodyPr/>
        <a:lstStyle/>
        <a:p>
          <a:endParaRPr lang="en-US"/>
        </a:p>
      </dgm:t>
    </dgm:pt>
    <dgm:pt modelId="{03B6B743-B5EE-4899-9241-23EF498707C8}" type="sibTrans" cxnId="{DBBDB2D5-6F75-4487-A572-44C1D71FC9B9}">
      <dgm:prSet/>
      <dgm:spPr/>
      <dgm:t>
        <a:bodyPr/>
        <a:lstStyle/>
        <a:p>
          <a:endParaRPr lang="en-US"/>
        </a:p>
      </dgm:t>
    </dgm:pt>
    <dgm:pt modelId="{84F372D6-779D-4C4D-96D8-A2D7504B0DE9}">
      <dgm:prSet phldrT="[Text]"/>
      <dgm:spPr/>
      <dgm:t>
        <a:bodyPr/>
        <a:lstStyle/>
        <a:p>
          <a:r>
            <a:rPr lang="en-US" dirty="0" err="1"/>
            <a:t>SKlearn</a:t>
          </a:r>
          <a:endParaRPr lang="en-US" dirty="0"/>
        </a:p>
      </dgm:t>
    </dgm:pt>
    <dgm:pt modelId="{058CC215-354B-4F51-960A-6DFC44873D69}" type="parTrans" cxnId="{0E0D0B24-83B0-4287-81A6-6C66B03C42BF}">
      <dgm:prSet/>
      <dgm:spPr/>
      <dgm:t>
        <a:bodyPr/>
        <a:lstStyle/>
        <a:p>
          <a:endParaRPr lang="en-US"/>
        </a:p>
      </dgm:t>
    </dgm:pt>
    <dgm:pt modelId="{7DB8B1C2-6C1E-4763-AC3E-8C6F9B8A3F81}" type="sibTrans" cxnId="{0E0D0B24-83B0-4287-81A6-6C66B03C42BF}">
      <dgm:prSet/>
      <dgm:spPr/>
      <dgm:t>
        <a:bodyPr/>
        <a:lstStyle/>
        <a:p>
          <a:endParaRPr lang="en-US"/>
        </a:p>
      </dgm:t>
    </dgm:pt>
    <dgm:pt modelId="{01673428-731D-401C-A0A2-1601E395D055}">
      <dgm:prSet phldrT="[Text]"/>
      <dgm:spPr/>
      <dgm:t>
        <a:bodyPr/>
        <a:lstStyle/>
        <a:p>
          <a:r>
            <a:rPr lang="zh-CN" altLang="en-US" dirty="0"/>
            <a:t>回归问题</a:t>
          </a:r>
          <a:endParaRPr lang="en-US" dirty="0"/>
        </a:p>
      </dgm:t>
    </dgm:pt>
    <dgm:pt modelId="{173DC6B2-0F25-4F86-BD6F-85CD61D05ACC}" type="parTrans" cxnId="{CC15AFE5-D8D3-4F3F-B8B7-409D17E1244B}">
      <dgm:prSet/>
      <dgm:spPr/>
      <dgm:t>
        <a:bodyPr/>
        <a:lstStyle/>
        <a:p>
          <a:endParaRPr lang="en-US"/>
        </a:p>
      </dgm:t>
    </dgm:pt>
    <dgm:pt modelId="{D30EA0BD-90AE-40D2-9BC7-D761A3B985A1}" type="sibTrans" cxnId="{CC15AFE5-D8D3-4F3F-B8B7-409D17E1244B}">
      <dgm:prSet/>
      <dgm:spPr/>
      <dgm:t>
        <a:bodyPr/>
        <a:lstStyle/>
        <a:p>
          <a:endParaRPr lang="en-US"/>
        </a:p>
      </dgm:t>
    </dgm:pt>
    <dgm:pt modelId="{5FB94E45-622A-456C-8091-9EC5469E89AD}">
      <dgm:prSet phldrT="[Text]"/>
      <dgm:spPr/>
      <dgm:t>
        <a:bodyPr/>
        <a:lstStyle/>
        <a:p>
          <a:r>
            <a:rPr lang="zh-CN" altLang="en-US" dirty="0"/>
            <a:t>聚类问题</a:t>
          </a:r>
          <a:endParaRPr lang="en-US" dirty="0"/>
        </a:p>
      </dgm:t>
    </dgm:pt>
    <dgm:pt modelId="{DBB879B5-63C4-4988-B202-C2F3BE8C0D26}" type="parTrans" cxnId="{5458911B-754C-4283-8B4C-E6DE3DECF3A5}">
      <dgm:prSet/>
      <dgm:spPr/>
      <dgm:t>
        <a:bodyPr/>
        <a:lstStyle/>
        <a:p>
          <a:endParaRPr lang="en-US"/>
        </a:p>
      </dgm:t>
    </dgm:pt>
    <dgm:pt modelId="{DFBFA4D7-11A9-44C8-8BA5-19701CD6ABBC}" type="sibTrans" cxnId="{5458911B-754C-4283-8B4C-E6DE3DECF3A5}">
      <dgm:prSet/>
      <dgm:spPr/>
      <dgm:t>
        <a:bodyPr/>
        <a:lstStyle/>
        <a:p>
          <a:endParaRPr lang="en-US"/>
        </a:p>
      </dgm:t>
    </dgm:pt>
    <dgm:pt modelId="{A86CC4DA-3111-4A4E-A532-1DE7CF1CB8BA}">
      <dgm:prSet phldrT="[Text]"/>
      <dgm:spPr/>
      <dgm:t>
        <a:bodyPr/>
        <a:lstStyle/>
        <a:p>
          <a:r>
            <a:rPr lang="zh-CN" altLang="en-US" dirty="0"/>
            <a:t>推荐问题</a:t>
          </a:r>
          <a:endParaRPr lang="en-US" dirty="0"/>
        </a:p>
      </dgm:t>
    </dgm:pt>
    <dgm:pt modelId="{88DBEC1B-076B-4A53-8228-F4E5773BCB5F}" type="parTrans" cxnId="{082A2C6A-3E50-4785-A4CD-3E39DFC7F4E0}">
      <dgm:prSet/>
      <dgm:spPr/>
      <dgm:t>
        <a:bodyPr/>
        <a:lstStyle/>
        <a:p>
          <a:endParaRPr lang="en-US"/>
        </a:p>
      </dgm:t>
    </dgm:pt>
    <dgm:pt modelId="{2F3A3996-3AB2-4CC0-9361-53B160A4B834}" type="sibTrans" cxnId="{082A2C6A-3E50-4785-A4CD-3E39DFC7F4E0}">
      <dgm:prSet/>
      <dgm:spPr/>
      <dgm:t>
        <a:bodyPr/>
        <a:lstStyle/>
        <a:p>
          <a:endParaRPr lang="en-US"/>
        </a:p>
      </dgm:t>
    </dgm:pt>
    <dgm:pt modelId="{41850C4E-6B99-42F3-A689-997BACB6E67C}">
      <dgm:prSet phldrT="[Text]"/>
      <dgm:spPr/>
      <dgm:t>
        <a:bodyPr/>
        <a:lstStyle/>
        <a:p>
          <a:r>
            <a:rPr lang="zh-CN" altLang="en-US" dirty="0"/>
            <a:t>集成学习算法</a:t>
          </a:r>
          <a:endParaRPr lang="en-US" dirty="0"/>
        </a:p>
      </dgm:t>
    </dgm:pt>
    <dgm:pt modelId="{D2A1A05B-77E3-4A0B-B13A-DCDF8306C5D0}" type="parTrans" cxnId="{B81C0061-5323-40A4-AE76-331E63A14652}">
      <dgm:prSet/>
      <dgm:spPr/>
      <dgm:t>
        <a:bodyPr/>
        <a:lstStyle/>
        <a:p>
          <a:endParaRPr lang="en-US"/>
        </a:p>
      </dgm:t>
    </dgm:pt>
    <dgm:pt modelId="{AD8A4CC1-1104-4212-AC6C-D5A1931EA3E7}" type="sibTrans" cxnId="{B81C0061-5323-40A4-AE76-331E63A14652}">
      <dgm:prSet/>
      <dgm:spPr/>
      <dgm:t>
        <a:bodyPr/>
        <a:lstStyle/>
        <a:p>
          <a:endParaRPr lang="en-US"/>
        </a:p>
      </dgm:t>
    </dgm:pt>
    <dgm:pt modelId="{DC8757FE-A2D4-492B-86C1-5BB74E900AE5}">
      <dgm:prSet phldrT="[Text]"/>
      <dgm:spPr/>
      <dgm:t>
        <a:bodyPr/>
        <a:lstStyle/>
        <a:p>
          <a:r>
            <a:rPr lang="zh-CN" altLang="en-US" dirty="0"/>
            <a:t>前沿深度学习算法</a:t>
          </a:r>
          <a:endParaRPr lang="en-US" dirty="0"/>
        </a:p>
      </dgm:t>
    </dgm:pt>
    <dgm:pt modelId="{039CA6C1-6198-4884-AACC-91343344C940}" type="parTrans" cxnId="{3E32EA25-1B78-4015-A22B-E604A9BC26FC}">
      <dgm:prSet/>
      <dgm:spPr/>
      <dgm:t>
        <a:bodyPr/>
        <a:lstStyle/>
        <a:p>
          <a:endParaRPr lang="en-US"/>
        </a:p>
      </dgm:t>
    </dgm:pt>
    <dgm:pt modelId="{E3F813C5-9930-414E-B9BE-21E3DE689444}" type="sibTrans" cxnId="{3E32EA25-1B78-4015-A22B-E604A9BC26FC}">
      <dgm:prSet/>
      <dgm:spPr/>
      <dgm:t>
        <a:bodyPr/>
        <a:lstStyle/>
        <a:p>
          <a:endParaRPr lang="en-US"/>
        </a:p>
      </dgm:t>
    </dgm:pt>
    <dgm:pt modelId="{ECC116EF-DDC5-4283-AF80-43EFA8C2AD04}" type="pres">
      <dgm:prSet presAssocID="{64227308-FC3E-43DF-9ADC-C15DEE7F4CF9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15021A6C-9EF1-49ED-955F-542F75323954}" type="pres">
      <dgm:prSet presAssocID="{923FF43D-AD68-4763-9D96-76B3266A21DB}" presName="circle1" presStyleLbl="node1" presStyleIdx="0" presStyleCnt="3"/>
      <dgm:spPr/>
    </dgm:pt>
    <dgm:pt modelId="{C85EA158-3568-4935-94A0-76A579376AC1}" type="pres">
      <dgm:prSet presAssocID="{923FF43D-AD68-4763-9D96-76B3266A21DB}" presName="space" presStyleCnt="0"/>
      <dgm:spPr/>
    </dgm:pt>
    <dgm:pt modelId="{DAED68B0-981D-4CFB-89A6-D9F558E70ABA}" type="pres">
      <dgm:prSet presAssocID="{923FF43D-AD68-4763-9D96-76B3266A21DB}" presName="rect1" presStyleLbl="alignAcc1" presStyleIdx="0" presStyleCnt="3"/>
      <dgm:spPr/>
    </dgm:pt>
    <dgm:pt modelId="{8F9ABA91-B215-4E07-A3E5-CE89ACF5701B}" type="pres">
      <dgm:prSet presAssocID="{292E051B-072A-40FA-9DB5-54296922DFF8}" presName="vertSpace2" presStyleLbl="node1" presStyleIdx="0" presStyleCnt="3"/>
      <dgm:spPr/>
    </dgm:pt>
    <dgm:pt modelId="{C69C7CDA-6190-4193-ABA1-15CBD4840699}" type="pres">
      <dgm:prSet presAssocID="{292E051B-072A-40FA-9DB5-54296922DFF8}" presName="circle2" presStyleLbl="node1" presStyleIdx="1" presStyleCnt="3"/>
      <dgm:spPr/>
    </dgm:pt>
    <dgm:pt modelId="{3A136E05-D209-42B6-A320-F08096981D2C}" type="pres">
      <dgm:prSet presAssocID="{292E051B-072A-40FA-9DB5-54296922DFF8}" presName="rect2" presStyleLbl="alignAcc1" presStyleIdx="1" presStyleCnt="3"/>
      <dgm:spPr/>
    </dgm:pt>
    <dgm:pt modelId="{F0D611A5-D001-4321-B100-F0AF9D5527B2}" type="pres">
      <dgm:prSet presAssocID="{8139CAFE-FC1C-4FF6-AFAF-641B2FB496E4}" presName="vertSpace3" presStyleLbl="node1" presStyleIdx="1" presStyleCnt="3"/>
      <dgm:spPr/>
    </dgm:pt>
    <dgm:pt modelId="{39E115D9-B8F6-4711-B06D-4D6F0B886F24}" type="pres">
      <dgm:prSet presAssocID="{8139CAFE-FC1C-4FF6-AFAF-641B2FB496E4}" presName="circle3" presStyleLbl="node1" presStyleIdx="2" presStyleCnt="3"/>
      <dgm:spPr/>
    </dgm:pt>
    <dgm:pt modelId="{00526AE8-6522-484F-9E7F-4C660EB81F48}" type="pres">
      <dgm:prSet presAssocID="{8139CAFE-FC1C-4FF6-AFAF-641B2FB496E4}" presName="rect3" presStyleLbl="alignAcc1" presStyleIdx="2" presStyleCnt="3"/>
      <dgm:spPr/>
    </dgm:pt>
    <dgm:pt modelId="{DD3B1BEA-EEA0-432F-BEEE-55B12BE238A2}" type="pres">
      <dgm:prSet presAssocID="{923FF43D-AD68-4763-9D96-76B3266A21DB}" presName="rect1ParTx" presStyleLbl="alignAcc1" presStyleIdx="2" presStyleCnt="3">
        <dgm:presLayoutVars>
          <dgm:chMax val="1"/>
          <dgm:bulletEnabled val="1"/>
        </dgm:presLayoutVars>
      </dgm:prSet>
      <dgm:spPr/>
    </dgm:pt>
    <dgm:pt modelId="{4E940597-2BFD-4CFF-A703-B791A5A8F7AA}" type="pres">
      <dgm:prSet presAssocID="{923FF43D-AD68-4763-9D96-76B3266A21DB}" presName="rect1ChTx" presStyleLbl="alignAcc1" presStyleIdx="2" presStyleCnt="3">
        <dgm:presLayoutVars>
          <dgm:bulletEnabled val="1"/>
        </dgm:presLayoutVars>
      </dgm:prSet>
      <dgm:spPr/>
    </dgm:pt>
    <dgm:pt modelId="{C73E9C1A-70CA-4D56-888F-3BA3CD177945}" type="pres">
      <dgm:prSet presAssocID="{292E051B-072A-40FA-9DB5-54296922DFF8}" presName="rect2ParTx" presStyleLbl="alignAcc1" presStyleIdx="2" presStyleCnt="3">
        <dgm:presLayoutVars>
          <dgm:chMax val="1"/>
          <dgm:bulletEnabled val="1"/>
        </dgm:presLayoutVars>
      </dgm:prSet>
      <dgm:spPr/>
    </dgm:pt>
    <dgm:pt modelId="{3B2D253E-8F8C-4646-86B2-C3C086623435}" type="pres">
      <dgm:prSet presAssocID="{292E051B-072A-40FA-9DB5-54296922DFF8}" presName="rect2ChTx" presStyleLbl="alignAcc1" presStyleIdx="2" presStyleCnt="3">
        <dgm:presLayoutVars>
          <dgm:bulletEnabled val="1"/>
        </dgm:presLayoutVars>
      </dgm:prSet>
      <dgm:spPr/>
    </dgm:pt>
    <dgm:pt modelId="{37C6CBFD-565A-4D47-B832-682EC4EBAF8F}" type="pres">
      <dgm:prSet presAssocID="{8139CAFE-FC1C-4FF6-AFAF-641B2FB496E4}" presName="rect3ParTx" presStyleLbl="alignAcc1" presStyleIdx="2" presStyleCnt="3">
        <dgm:presLayoutVars>
          <dgm:chMax val="1"/>
          <dgm:bulletEnabled val="1"/>
        </dgm:presLayoutVars>
      </dgm:prSet>
      <dgm:spPr/>
    </dgm:pt>
    <dgm:pt modelId="{599E1850-2458-449C-AF9A-D8A2ADBBA8E9}" type="pres">
      <dgm:prSet presAssocID="{8139CAFE-FC1C-4FF6-AFAF-641B2FB496E4}" presName="rect3ChTx" presStyleLbl="alignAcc1" presStyleIdx="2" presStyleCnt="3">
        <dgm:presLayoutVars>
          <dgm:bulletEnabled val="1"/>
        </dgm:presLayoutVars>
      </dgm:prSet>
      <dgm:spPr/>
    </dgm:pt>
  </dgm:ptLst>
  <dgm:cxnLst>
    <dgm:cxn modelId="{97A74F00-2C04-4EEB-8F2A-9F69EFA721AD}" type="presOf" srcId="{CA68A8BF-0A2A-456B-9355-F46280B380D0}" destId="{599E1850-2458-449C-AF9A-D8A2ADBBA8E9}" srcOrd="0" destOrd="0" presId="urn:microsoft.com/office/officeart/2005/8/layout/target3"/>
    <dgm:cxn modelId="{7D598C0C-3633-496C-9798-3677D4156935}" type="presOf" srcId="{5FB94E45-622A-456C-8091-9EC5469E89AD}" destId="{3B2D253E-8F8C-4646-86B2-C3C086623435}" srcOrd="0" destOrd="2" presId="urn:microsoft.com/office/officeart/2005/8/layout/target3"/>
    <dgm:cxn modelId="{62083A18-B8FA-4FFC-AF3D-2812B8BCD16F}" srcId="{923FF43D-AD68-4763-9D96-76B3266A21DB}" destId="{C75548FB-9069-428A-9A21-BE8F190C820B}" srcOrd="0" destOrd="0" parTransId="{1565A041-99DC-414A-B499-6DFBA44AAE77}" sibTransId="{20F7C6CE-1F1D-425E-8282-FCD0A3E10A3F}"/>
    <dgm:cxn modelId="{F050A01A-73AA-4F58-90AD-E47A124DD5BD}" type="presOf" srcId="{34EBB61C-1E1A-4E57-BA42-F7AEDDAA1F30}" destId="{3B2D253E-8F8C-4646-86B2-C3C086623435}" srcOrd="0" destOrd="0" presId="urn:microsoft.com/office/officeart/2005/8/layout/target3"/>
    <dgm:cxn modelId="{5458911B-754C-4283-8B4C-E6DE3DECF3A5}" srcId="{292E051B-072A-40FA-9DB5-54296922DFF8}" destId="{5FB94E45-622A-456C-8091-9EC5469E89AD}" srcOrd="2" destOrd="0" parTransId="{DBB879B5-63C4-4988-B202-C2F3BE8C0D26}" sibTransId="{DFBFA4D7-11A9-44C8-8BA5-19701CD6ABBC}"/>
    <dgm:cxn modelId="{EF8D2723-DA43-4258-B822-2B0784DC1E82}" srcId="{64227308-FC3E-43DF-9ADC-C15DEE7F4CF9}" destId="{292E051B-072A-40FA-9DB5-54296922DFF8}" srcOrd="1" destOrd="0" parTransId="{D3C8ADA9-1D3B-4358-BD05-CD738C44514B}" sibTransId="{D2489DA2-9331-4A71-9572-326D8EE54CF5}"/>
    <dgm:cxn modelId="{0E0D0B24-83B0-4287-81A6-6C66B03C42BF}" srcId="{8139CAFE-FC1C-4FF6-AFAF-641B2FB496E4}" destId="{84F372D6-779D-4C4D-96D8-A2D7504B0DE9}" srcOrd="2" destOrd="0" parTransId="{058CC215-354B-4F51-960A-6DFC44873D69}" sibTransId="{7DB8B1C2-6C1E-4763-AC3E-8C6F9B8A3F81}"/>
    <dgm:cxn modelId="{3E32EA25-1B78-4015-A22B-E604A9BC26FC}" srcId="{923FF43D-AD68-4763-9D96-76B3266A21DB}" destId="{DC8757FE-A2D4-492B-86C1-5BB74E900AE5}" srcOrd="2" destOrd="0" parTransId="{039CA6C1-6198-4884-AACC-91343344C940}" sibTransId="{E3F813C5-9930-414E-B9BE-21E3DE689444}"/>
    <dgm:cxn modelId="{8831C32F-8754-4065-A851-7725EB93AA19}" type="presOf" srcId="{8139CAFE-FC1C-4FF6-AFAF-641B2FB496E4}" destId="{37C6CBFD-565A-4D47-B832-682EC4EBAF8F}" srcOrd="1" destOrd="0" presId="urn:microsoft.com/office/officeart/2005/8/layout/target3"/>
    <dgm:cxn modelId="{30FA7960-6EC4-49F4-902C-2DDB2892DE1C}" type="presOf" srcId="{84F372D6-779D-4C4D-96D8-A2D7504B0DE9}" destId="{599E1850-2458-449C-AF9A-D8A2ADBBA8E9}" srcOrd="0" destOrd="2" presId="urn:microsoft.com/office/officeart/2005/8/layout/target3"/>
    <dgm:cxn modelId="{B81C0061-5323-40A4-AE76-331E63A14652}" srcId="{923FF43D-AD68-4763-9D96-76B3266A21DB}" destId="{41850C4E-6B99-42F3-A689-997BACB6E67C}" srcOrd="1" destOrd="0" parTransId="{D2A1A05B-77E3-4A0B-B13A-DCDF8306C5D0}" sibTransId="{AD8A4CC1-1104-4212-AC6C-D5A1931EA3E7}"/>
    <dgm:cxn modelId="{FEBE3141-5E10-42D7-87DF-1A53D4088E7F}" type="presOf" srcId="{8139CAFE-FC1C-4FF6-AFAF-641B2FB496E4}" destId="{00526AE8-6522-484F-9E7F-4C660EB81F48}" srcOrd="0" destOrd="0" presId="urn:microsoft.com/office/officeart/2005/8/layout/target3"/>
    <dgm:cxn modelId="{E1429642-8439-46A5-8542-DDDA6FFD3BC0}" type="presOf" srcId="{01673428-731D-401C-A0A2-1601E395D055}" destId="{3B2D253E-8F8C-4646-86B2-C3C086623435}" srcOrd="0" destOrd="1" presId="urn:microsoft.com/office/officeart/2005/8/layout/target3"/>
    <dgm:cxn modelId="{082A2C6A-3E50-4785-A4CD-3E39DFC7F4E0}" srcId="{292E051B-072A-40FA-9DB5-54296922DFF8}" destId="{A86CC4DA-3111-4A4E-A532-1DE7CF1CB8BA}" srcOrd="3" destOrd="0" parTransId="{88DBEC1B-076B-4A53-8228-F4E5773BCB5F}" sibTransId="{2F3A3996-3AB2-4CC0-9361-53B160A4B834}"/>
    <dgm:cxn modelId="{634EF956-D072-437E-A60F-820F11C5D19F}" srcId="{64227308-FC3E-43DF-9ADC-C15DEE7F4CF9}" destId="{8139CAFE-FC1C-4FF6-AFAF-641B2FB496E4}" srcOrd="2" destOrd="0" parTransId="{BC0AE3A4-D004-4AB9-BC66-34CF212A4CBA}" sibTransId="{B52BC395-C5F8-4D42-A54D-52D22DD849D4}"/>
    <dgm:cxn modelId="{E61CEB79-0DA3-4CF2-8AAB-6E7AFBF76323}" srcId="{64227308-FC3E-43DF-9ADC-C15DEE7F4CF9}" destId="{923FF43D-AD68-4763-9D96-76B3266A21DB}" srcOrd="0" destOrd="0" parTransId="{3335D52B-8580-4680-9193-6130E4C44EFB}" sibTransId="{D8274C39-2752-47F1-9F6A-3ABA274A6B2F}"/>
    <dgm:cxn modelId="{2210397D-77DA-4CF7-9FB3-8F5CF6FCDF78}" type="presOf" srcId="{0FA5DE06-2446-44FF-B56C-04A80CF345C4}" destId="{599E1850-2458-449C-AF9A-D8A2ADBBA8E9}" srcOrd="0" destOrd="1" presId="urn:microsoft.com/office/officeart/2005/8/layout/target3"/>
    <dgm:cxn modelId="{A191D87E-F14A-458F-A3C1-8BBC1B3D34FE}" type="presOf" srcId="{292E051B-072A-40FA-9DB5-54296922DFF8}" destId="{3A136E05-D209-42B6-A320-F08096981D2C}" srcOrd="0" destOrd="0" presId="urn:microsoft.com/office/officeart/2005/8/layout/target3"/>
    <dgm:cxn modelId="{3BD92282-1FF8-4321-8476-A3C4CF9AF928}" type="presOf" srcId="{923FF43D-AD68-4763-9D96-76B3266A21DB}" destId="{DD3B1BEA-EEA0-432F-BEEE-55B12BE238A2}" srcOrd="1" destOrd="0" presId="urn:microsoft.com/office/officeart/2005/8/layout/target3"/>
    <dgm:cxn modelId="{04F53F8A-3D04-449B-BAE9-684B0889A6F3}" type="presOf" srcId="{292E051B-072A-40FA-9DB5-54296922DFF8}" destId="{C73E9C1A-70CA-4D56-888F-3BA3CD177945}" srcOrd="1" destOrd="0" presId="urn:microsoft.com/office/officeart/2005/8/layout/target3"/>
    <dgm:cxn modelId="{B729B38C-E0CF-4575-818F-29E7E4FC3E1A}" srcId="{8139CAFE-FC1C-4FF6-AFAF-641B2FB496E4}" destId="{CA68A8BF-0A2A-456B-9355-F46280B380D0}" srcOrd="0" destOrd="0" parTransId="{CE674EF9-C42B-4D46-8A24-831E81AA7DA5}" sibTransId="{17A55289-9105-436F-86DD-7263D755FDD7}"/>
    <dgm:cxn modelId="{217D72A8-5C36-404B-AECC-A2D389E76668}" type="presOf" srcId="{41850C4E-6B99-42F3-A689-997BACB6E67C}" destId="{4E940597-2BFD-4CFF-A703-B791A5A8F7AA}" srcOrd="0" destOrd="1" presId="urn:microsoft.com/office/officeart/2005/8/layout/target3"/>
    <dgm:cxn modelId="{2016FCAC-1041-47D2-B0B2-C7B33887D4EA}" type="presOf" srcId="{DC8757FE-A2D4-492B-86C1-5BB74E900AE5}" destId="{4E940597-2BFD-4CFF-A703-B791A5A8F7AA}" srcOrd="0" destOrd="2" presId="urn:microsoft.com/office/officeart/2005/8/layout/target3"/>
    <dgm:cxn modelId="{FD0CC5CE-30B3-4D61-86BE-66312A15C97A}" type="presOf" srcId="{64227308-FC3E-43DF-9ADC-C15DEE7F4CF9}" destId="{ECC116EF-DDC5-4283-AF80-43EFA8C2AD04}" srcOrd="0" destOrd="0" presId="urn:microsoft.com/office/officeart/2005/8/layout/target3"/>
    <dgm:cxn modelId="{DBBDB2D5-6F75-4487-A572-44C1D71FC9B9}" srcId="{8139CAFE-FC1C-4FF6-AFAF-641B2FB496E4}" destId="{0FA5DE06-2446-44FF-B56C-04A80CF345C4}" srcOrd="1" destOrd="0" parTransId="{869F2792-CCEF-453B-A83B-8696056EF642}" sibTransId="{03B6B743-B5EE-4899-9241-23EF498707C8}"/>
    <dgm:cxn modelId="{779076D8-F0F0-4A84-97CB-5431E40AE1D6}" type="presOf" srcId="{923FF43D-AD68-4763-9D96-76B3266A21DB}" destId="{DAED68B0-981D-4CFB-89A6-D9F558E70ABA}" srcOrd="0" destOrd="0" presId="urn:microsoft.com/office/officeart/2005/8/layout/target3"/>
    <dgm:cxn modelId="{8DAFEBE4-EE58-485D-8B11-E6B293FC3121}" srcId="{292E051B-072A-40FA-9DB5-54296922DFF8}" destId="{34EBB61C-1E1A-4E57-BA42-F7AEDDAA1F30}" srcOrd="0" destOrd="0" parTransId="{1B5080CE-1D52-4917-9A88-D378169849B8}" sibTransId="{4A689434-5155-464B-B403-08B271C14D9F}"/>
    <dgm:cxn modelId="{CC15AFE5-D8D3-4F3F-B8B7-409D17E1244B}" srcId="{292E051B-072A-40FA-9DB5-54296922DFF8}" destId="{01673428-731D-401C-A0A2-1601E395D055}" srcOrd="1" destOrd="0" parTransId="{173DC6B2-0F25-4F86-BD6F-85CD61D05ACC}" sibTransId="{D30EA0BD-90AE-40D2-9BC7-D761A3B985A1}"/>
    <dgm:cxn modelId="{A217BAE7-02F4-466E-B554-0C2BB98E18E8}" type="presOf" srcId="{A86CC4DA-3111-4A4E-A532-1DE7CF1CB8BA}" destId="{3B2D253E-8F8C-4646-86B2-C3C086623435}" srcOrd="0" destOrd="3" presId="urn:microsoft.com/office/officeart/2005/8/layout/target3"/>
    <dgm:cxn modelId="{E7D6D5E9-8246-4F47-85DF-966A069FD1A1}" type="presOf" srcId="{C75548FB-9069-428A-9A21-BE8F190C820B}" destId="{4E940597-2BFD-4CFF-A703-B791A5A8F7AA}" srcOrd="0" destOrd="0" presId="urn:microsoft.com/office/officeart/2005/8/layout/target3"/>
    <dgm:cxn modelId="{C92157A3-A5F0-4A0C-825F-C67B10AA09D2}" type="presParOf" srcId="{ECC116EF-DDC5-4283-AF80-43EFA8C2AD04}" destId="{15021A6C-9EF1-49ED-955F-542F75323954}" srcOrd="0" destOrd="0" presId="urn:microsoft.com/office/officeart/2005/8/layout/target3"/>
    <dgm:cxn modelId="{20135A44-FF69-49C3-9A79-97D506DB9BE8}" type="presParOf" srcId="{ECC116EF-DDC5-4283-AF80-43EFA8C2AD04}" destId="{C85EA158-3568-4935-94A0-76A579376AC1}" srcOrd="1" destOrd="0" presId="urn:microsoft.com/office/officeart/2005/8/layout/target3"/>
    <dgm:cxn modelId="{FF8BE9F8-3513-41A4-9790-2C129FBF8D36}" type="presParOf" srcId="{ECC116EF-DDC5-4283-AF80-43EFA8C2AD04}" destId="{DAED68B0-981D-4CFB-89A6-D9F558E70ABA}" srcOrd="2" destOrd="0" presId="urn:microsoft.com/office/officeart/2005/8/layout/target3"/>
    <dgm:cxn modelId="{755CA775-27A2-4A1D-AF0C-463296BFFCB6}" type="presParOf" srcId="{ECC116EF-DDC5-4283-AF80-43EFA8C2AD04}" destId="{8F9ABA91-B215-4E07-A3E5-CE89ACF5701B}" srcOrd="3" destOrd="0" presId="urn:microsoft.com/office/officeart/2005/8/layout/target3"/>
    <dgm:cxn modelId="{70D0EA69-7CD4-4C90-A18E-A315772F6547}" type="presParOf" srcId="{ECC116EF-DDC5-4283-AF80-43EFA8C2AD04}" destId="{C69C7CDA-6190-4193-ABA1-15CBD4840699}" srcOrd="4" destOrd="0" presId="urn:microsoft.com/office/officeart/2005/8/layout/target3"/>
    <dgm:cxn modelId="{880E5EC7-D581-4B93-879E-F52112AC661B}" type="presParOf" srcId="{ECC116EF-DDC5-4283-AF80-43EFA8C2AD04}" destId="{3A136E05-D209-42B6-A320-F08096981D2C}" srcOrd="5" destOrd="0" presId="urn:microsoft.com/office/officeart/2005/8/layout/target3"/>
    <dgm:cxn modelId="{E24B1CD4-3BF9-4328-9194-3EFA84FF743A}" type="presParOf" srcId="{ECC116EF-DDC5-4283-AF80-43EFA8C2AD04}" destId="{F0D611A5-D001-4321-B100-F0AF9D5527B2}" srcOrd="6" destOrd="0" presId="urn:microsoft.com/office/officeart/2005/8/layout/target3"/>
    <dgm:cxn modelId="{3FB32156-C3D4-4B83-ABF8-A6DB7602EE39}" type="presParOf" srcId="{ECC116EF-DDC5-4283-AF80-43EFA8C2AD04}" destId="{39E115D9-B8F6-4711-B06D-4D6F0B886F24}" srcOrd="7" destOrd="0" presId="urn:microsoft.com/office/officeart/2005/8/layout/target3"/>
    <dgm:cxn modelId="{E4363450-D4C7-4841-AF17-46582FC1E160}" type="presParOf" srcId="{ECC116EF-DDC5-4283-AF80-43EFA8C2AD04}" destId="{00526AE8-6522-484F-9E7F-4C660EB81F48}" srcOrd="8" destOrd="0" presId="urn:microsoft.com/office/officeart/2005/8/layout/target3"/>
    <dgm:cxn modelId="{65200241-B032-4B95-8E9B-CCED477A5A45}" type="presParOf" srcId="{ECC116EF-DDC5-4283-AF80-43EFA8C2AD04}" destId="{DD3B1BEA-EEA0-432F-BEEE-55B12BE238A2}" srcOrd="9" destOrd="0" presId="urn:microsoft.com/office/officeart/2005/8/layout/target3"/>
    <dgm:cxn modelId="{20727914-8D0C-42EC-8CFC-B024568B2AA9}" type="presParOf" srcId="{ECC116EF-DDC5-4283-AF80-43EFA8C2AD04}" destId="{4E940597-2BFD-4CFF-A703-B791A5A8F7AA}" srcOrd="10" destOrd="0" presId="urn:microsoft.com/office/officeart/2005/8/layout/target3"/>
    <dgm:cxn modelId="{2B801277-E3D7-428D-B084-3581DD978BAF}" type="presParOf" srcId="{ECC116EF-DDC5-4283-AF80-43EFA8C2AD04}" destId="{C73E9C1A-70CA-4D56-888F-3BA3CD177945}" srcOrd="11" destOrd="0" presId="urn:microsoft.com/office/officeart/2005/8/layout/target3"/>
    <dgm:cxn modelId="{3C4A5A9F-43B9-4257-AAB1-C18A0B71230B}" type="presParOf" srcId="{ECC116EF-DDC5-4283-AF80-43EFA8C2AD04}" destId="{3B2D253E-8F8C-4646-86B2-C3C086623435}" srcOrd="12" destOrd="0" presId="urn:microsoft.com/office/officeart/2005/8/layout/target3"/>
    <dgm:cxn modelId="{18EDD3BE-F0B6-4500-A0D3-66A62FCC09A1}" type="presParOf" srcId="{ECC116EF-DDC5-4283-AF80-43EFA8C2AD04}" destId="{37C6CBFD-565A-4D47-B832-682EC4EBAF8F}" srcOrd="13" destOrd="0" presId="urn:microsoft.com/office/officeart/2005/8/layout/target3"/>
    <dgm:cxn modelId="{A5ABA1E1-8AAA-40D9-822B-8F690202DBF9}" type="presParOf" srcId="{ECC116EF-DDC5-4283-AF80-43EFA8C2AD04}" destId="{599E1850-2458-449C-AF9A-D8A2ADBBA8E9}" srcOrd="14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B545D3-8218-47E3-90A8-344DAF34D401}">
      <dsp:nvSpPr>
        <dsp:cNvPr id="0" name=""/>
        <dsp:cNvSpPr/>
      </dsp:nvSpPr>
      <dsp:spPr>
        <a:xfrm rot="5400000">
          <a:off x="-260886" y="261326"/>
          <a:ext cx="1739242" cy="1217469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chemeClr val="accent2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300" kern="1200" dirty="0"/>
            <a:t>特征工程</a:t>
          </a:r>
          <a:endParaRPr lang="en-US" sz="2300" kern="1200" dirty="0"/>
        </a:p>
      </dsp:txBody>
      <dsp:txXfrm rot="-5400000">
        <a:off x="1" y="609175"/>
        <a:ext cx="1217469" cy="521773"/>
      </dsp:txXfrm>
    </dsp:sp>
    <dsp:sp modelId="{3A283751-6F35-43E3-A36C-830474EA0BD4}">
      <dsp:nvSpPr>
        <dsp:cNvPr id="0" name=""/>
        <dsp:cNvSpPr/>
      </dsp:nvSpPr>
      <dsp:spPr>
        <a:xfrm rot="5400000">
          <a:off x="3749298" y="-2531828"/>
          <a:ext cx="1130507" cy="619416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400" kern="1200" dirty="0"/>
            <a:t>缺失值补全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400" kern="1200" dirty="0"/>
            <a:t>数据标准化及正则化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O</a:t>
          </a:r>
          <a:r>
            <a:rPr lang="en-US" altLang="zh-CN" sz="1400" kern="1200" dirty="0"/>
            <a:t>ne-Hot Encoding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PCA</a:t>
          </a:r>
          <a:r>
            <a:rPr lang="zh-CN" altLang="en-US" sz="1400" kern="1200" dirty="0"/>
            <a:t>降维</a:t>
          </a:r>
          <a:endParaRPr lang="en-US" sz="1400" kern="1200" dirty="0"/>
        </a:p>
      </dsp:txBody>
      <dsp:txXfrm rot="-5400000">
        <a:off x="1217470" y="55187"/>
        <a:ext cx="6138978" cy="1020133"/>
      </dsp:txXfrm>
    </dsp:sp>
    <dsp:sp modelId="{35E29EBB-C4E0-4B20-BCEC-7DABABC8E81A}">
      <dsp:nvSpPr>
        <dsp:cNvPr id="0" name=""/>
        <dsp:cNvSpPr/>
      </dsp:nvSpPr>
      <dsp:spPr>
        <a:xfrm rot="5400000">
          <a:off x="-260886" y="1807797"/>
          <a:ext cx="1739242" cy="1217469"/>
        </a:xfrm>
        <a:prstGeom prst="chevron">
          <a:avLst/>
        </a:prstGeom>
        <a:solidFill>
          <a:schemeClr val="accent3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300" kern="1200" dirty="0"/>
            <a:t>模型构建</a:t>
          </a:r>
          <a:endParaRPr lang="en-US" sz="2300" kern="1200" dirty="0"/>
        </a:p>
      </dsp:txBody>
      <dsp:txXfrm rot="-5400000">
        <a:off x="1" y="2155646"/>
        <a:ext cx="1217469" cy="521773"/>
      </dsp:txXfrm>
    </dsp:sp>
    <dsp:sp modelId="{9B293E3A-5066-4F9C-8EA2-ED7545E12C7C}">
      <dsp:nvSpPr>
        <dsp:cNvPr id="0" name=""/>
        <dsp:cNvSpPr/>
      </dsp:nvSpPr>
      <dsp:spPr>
        <a:xfrm rot="5400000">
          <a:off x="3749298" y="-984918"/>
          <a:ext cx="1130507" cy="619416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Meta-Learning</a:t>
          </a:r>
          <a:r>
            <a:rPr lang="zh-CN" altLang="en-US" sz="1400" kern="1200" dirty="0"/>
            <a:t>算法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Grid Search</a:t>
          </a:r>
          <a:r>
            <a:rPr lang="zh-CN" altLang="en-US" sz="1400" kern="1200" dirty="0"/>
            <a:t>参数选择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B</a:t>
          </a:r>
          <a:r>
            <a:rPr lang="en-US" altLang="zh-CN" sz="1400" kern="1200" dirty="0"/>
            <a:t>ayesian</a:t>
          </a:r>
          <a:r>
            <a:rPr lang="zh-CN" altLang="en-US" sz="1400" kern="1200" dirty="0"/>
            <a:t>超参选择</a:t>
          </a:r>
          <a:endParaRPr lang="en-US" sz="1400" kern="1200" dirty="0"/>
        </a:p>
      </dsp:txBody>
      <dsp:txXfrm rot="-5400000">
        <a:off x="1217470" y="1602097"/>
        <a:ext cx="6138978" cy="1020133"/>
      </dsp:txXfrm>
    </dsp:sp>
    <dsp:sp modelId="{3E1A00EC-8CFF-496B-8F8F-B701CC118F85}">
      <dsp:nvSpPr>
        <dsp:cNvPr id="0" name=""/>
        <dsp:cNvSpPr/>
      </dsp:nvSpPr>
      <dsp:spPr>
        <a:xfrm rot="5400000">
          <a:off x="-260886" y="3354267"/>
          <a:ext cx="1739242" cy="1217469"/>
        </a:xfrm>
        <a:prstGeom prst="chevron">
          <a:avLst/>
        </a:prstGeom>
        <a:solidFill>
          <a:schemeClr val="accent5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5"/>
        </a:fillRef>
        <a:effectRef idx="1">
          <a:schemeClr val="accent5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300" kern="1200" dirty="0"/>
            <a:t>集成学习</a:t>
          </a:r>
          <a:endParaRPr lang="en-US" sz="2300" kern="1200" dirty="0"/>
        </a:p>
      </dsp:txBody>
      <dsp:txXfrm rot="-5400000">
        <a:off x="1" y="3702116"/>
        <a:ext cx="1217469" cy="521773"/>
      </dsp:txXfrm>
    </dsp:sp>
    <dsp:sp modelId="{5E5DCB08-2F0A-4079-9A8F-A05CB615141F}">
      <dsp:nvSpPr>
        <dsp:cNvPr id="0" name=""/>
        <dsp:cNvSpPr/>
      </dsp:nvSpPr>
      <dsp:spPr>
        <a:xfrm rot="5400000">
          <a:off x="3749298" y="561552"/>
          <a:ext cx="1130507" cy="619416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B</a:t>
          </a:r>
          <a:r>
            <a:rPr lang="en-US" altLang="zh-CN" sz="1400" kern="1200" dirty="0"/>
            <a:t>agging/ Averaging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S</a:t>
          </a:r>
          <a:r>
            <a:rPr lang="en-US" altLang="zh-CN" sz="1400" kern="1200" dirty="0"/>
            <a:t>tacking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Ensemble Selection</a:t>
          </a:r>
        </a:p>
      </dsp:txBody>
      <dsp:txXfrm rot="-5400000">
        <a:off x="1217470" y="3148568"/>
        <a:ext cx="6138978" cy="102013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2C467E-62FE-4F40-B838-39B1035B19FB}">
      <dsp:nvSpPr>
        <dsp:cNvPr id="0" name=""/>
        <dsp:cNvSpPr/>
      </dsp:nvSpPr>
      <dsp:spPr>
        <a:xfrm>
          <a:off x="1491" y="56987"/>
          <a:ext cx="1453894" cy="403200"/>
        </a:xfrm>
        <a:prstGeom prst="rect">
          <a:avLst/>
        </a:prstGeom>
        <a:solidFill>
          <a:schemeClr val="accent2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2"/>
        </a:fillRef>
        <a:effectRef idx="1">
          <a:schemeClr val="accent2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>
              <a:solidFill>
                <a:schemeClr val="bg1"/>
              </a:solidFill>
            </a:rPr>
            <a:t>A</a:t>
          </a:r>
          <a:r>
            <a:rPr lang="en-US" altLang="zh-CN" sz="1400" kern="1200" dirty="0" err="1">
              <a:solidFill>
                <a:schemeClr val="bg1"/>
              </a:solidFill>
            </a:rPr>
            <a:t>utoML</a:t>
          </a:r>
          <a:endParaRPr lang="en-US" sz="1400" kern="1200" dirty="0">
            <a:solidFill>
              <a:schemeClr val="bg1"/>
            </a:solidFill>
          </a:endParaRPr>
        </a:p>
      </dsp:txBody>
      <dsp:txXfrm>
        <a:off x="1491" y="56987"/>
        <a:ext cx="1453894" cy="403200"/>
      </dsp:txXfrm>
    </dsp:sp>
    <dsp:sp modelId="{20B6ED3D-506F-4CC1-A38F-41A758BF3D9C}">
      <dsp:nvSpPr>
        <dsp:cNvPr id="0" name=""/>
        <dsp:cNvSpPr/>
      </dsp:nvSpPr>
      <dsp:spPr>
        <a:xfrm>
          <a:off x="1491" y="460187"/>
          <a:ext cx="1453894" cy="2648067"/>
        </a:xfrm>
        <a:prstGeom prst="rect">
          <a:avLst/>
        </a:prstGeom>
        <a:solidFill>
          <a:schemeClr val="accent2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2"/>
        </a:fillRef>
        <a:effectRef idx="1">
          <a:schemeClr val="accent2"/>
        </a:effectRef>
        <a:fontRef idx="minor">
          <a:schemeClr val="lt1"/>
        </a:fontRef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400" kern="1200" dirty="0">
              <a:solidFill>
                <a:schemeClr val="bg1"/>
              </a:solidFill>
            </a:rPr>
            <a:t>优势</a:t>
          </a:r>
          <a:r>
            <a:rPr lang="en-US" altLang="zh-CN" sz="1400" kern="1200" dirty="0">
              <a:solidFill>
                <a:schemeClr val="bg1"/>
              </a:solidFill>
            </a:rPr>
            <a:t>:</a:t>
          </a:r>
          <a:r>
            <a:rPr lang="zh-CN" altLang="en-US" sz="1400" kern="1200" dirty="0">
              <a:solidFill>
                <a:schemeClr val="bg1"/>
              </a:solidFill>
            </a:rPr>
            <a:t>强大的深度模型及云计算能力</a:t>
          </a:r>
          <a:endParaRPr lang="en-US" sz="1400" kern="1200" dirty="0">
            <a:solidFill>
              <a:schemeClr val="bg1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400" kern="1200" dirty="0">
              <a:solidFill>
                <a:schemeClr val="bg1"/>
              </a:solidFill>
            </a:rPr>
            <a:t>局限</a:t>
          </a:r>
          <a:r>
            <a:rPr lang="en-US" altLang="zh-CN" sz="1400" kern="1200" dirty="0">
              <a:solidFill>
                <a:schemeClr val="bg1"/>
              </a:solidFill>
            </a:rPr>
            <a:t>:</a:t>
          </a:r>
          <a:r>
            <a:rPr lang="zh-CN" altLang="en-US" sz="1400" kern="1200" dirty="0">
              <a:solidFill>
                <a:schemeClr val="bg1"/>
              </a:solidFill>
            </a:rPr>
            <a:t>仅支持语言模型、自然语言处理及图像处理，不支持数据建模，对大数据框架不支持</a:t>
          </a:r>
          <a:endParaRPr lang="en-US" sz="1400" kern="1200" dirty="0">
            <a:solidFill>
              <a:schemeClr val="bg1"/>
            </a:solidFill>
          </a:endParaRPr>
        </a:p>
      </dsp:txBody>
      <dsp:txXfrm>
        <a:off x="1491" y="460187"/>
        <a:ext cx="1453894" cy="2648067"/>
      </dsp:txXfrm>
    </dsp:sp>
    <dsp:sp modelId="{5C73A40A-0B42-4F13-908F-B309847BBE0B}">
      <dsp:nvSpPr>
        <dsp:cNvPr id="0" name=""/>
        <dsp:cNvSpPr/>
      </dsp:nvSpPr>
      <dsp:spPr>
        <a:xfrm>
          <a:off x="1658930" y="56987"/>
          <a:ext cx="1453894" cy="403200"/>
        </a:xfrm>
        <a:prstGeom prst="rect">
          <a:avLst/>
        </a:prstGeom>
        <a:solidFill>
          <a:schemeClr val="accent3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>
              <a:solidFill>
                <a:schemeClr val="bg1"/>
              </a:solidFill>
            </a:rPr>
            <a:t>M</a:t>
          </a:r>
          <a:r>
            <a:rPr lang="en-US" altLang="zh-CN" sz="1400" kern="1200" dirty="0" err="1">
              <a:solidFill>
                <a:schemeClr val="bg1"/>
              </a:solidFill>
            </a:rPr>
            <a:t>etaLabs</a:t>
          </a:r>
          <a:endParaRPr lang="en-US" sz="1400" kern="1200" dirty="0">
            <a:solidFill>
              <a:schemeClr val="bg1"/>
            </a:solidFill>
          </a:endParaRPr>
        </a:p>
      </dsp:txBody>
      <dsp:txXfrm>
        <a:off x="1658930" y="56987"/>
        <a:ext cx="1453894" cy="403200"/>
      </dsp:txXfrm>
    </dsp:sp>
    <dsp:sp modelId="{DA7FE69D-989A-4D60-900B-F994C1376CCE}">
      <dsp:nvSpPr>
        <dsp:cNvPr id="0" name=""/>
        <dsp:cNvSpPr/>
      </dsp:nvSpPr>
      <dsp:spPr>
        <a:xfrm>
          <a:off x="1658930" y="460187"/>
          <a:ext cx="1453894" cy="2648067"/>
        </a:xfrm>
        <a:prstGeom prst="rect">
          <a:avLst/>
        </a:prstGeom>
        <a:solidFill>
          <a:schemeClr val="accent3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400" kern="1200" dirty="0">
              <a:solidFill>
                <a:schemeClr val="bg1"/>
              </a:solidFill>
            </a:rPr>
            <a:t>优势</a:t>
          </a:r>
          <a:r>
            <a:rPr lang="en-US" altLang="zh-CN" sz="1400" kern="1200" dirty="0">
              <a:solidFill>
                <a:schemeClr val="bg1"/>
              </a:solidFill>
            </a:rPr>
            <a:t>:</a:t>
          </a:r>
          <a:r>
            <a:rPr lang="zh-CN" altLang="en-US" sz="1400" kern="1200" dirty="0">
              <a:solidFill>
                <a:schemeClr val="bg1"/>
              </a:solidFill>
            </a:rPr>
            <a:t>用户无需关注实现细节</a:t>
          </a:r>
          <a:endParaRPr lang="en-US" sz="1400" kern="1200" dirty="0">
            <a:solidFill>
              <a:schemeClr val="bg1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400" kern="1200" dirty="0">
              <a:solidFill>
                <a:schemeClr val="bg1"/>
              </a:solidFill>
            </a:rPr>
            <a:t>局限</a:t>
          </a:r>
          <a:r>
            <a:rPr lang="en-US" altLang="zh-CN" sz="1400" kern="1200" dirty="0">
              <a:solidFill>
                <a:schemeClr val="bg1"/>
              </a:solidFill>
            </a:rPr>
            <a:t>:</a:t>
          </a:r>
          <a:r>
            <a:rPr lang="zh-CN" altLang="en-US" sz="1400" kern="1200" dirty="0">
              <a:solidFill>
                <a:schemeClr val="bg1"/>
              </a:solidFill>
            </a:rPr>
            <a:t>仅支持分类问题，对应用框架及支持算法用户完全不了解，无对不同算法建模结果对比，无模型应用能力</a:t>
          </a:r>
          <a:endParaRPr lang="en-US" sz="1400" kern="1200" dirty="0">
            <a:solidFill>
              <a:schemeClr val="bg1"/>
            </a:solidFill>
          </a:endParaRPr>
        </a:p>
      </dsp:txBody>
      <dsp:txXfrm>
        <a:off x="1658930" y="460187"/>
        <a:ext cx="1453894" cy="2648067"/>
      </dsp:txXfrm>
    </dsp:sp>
    <dsp:sp modelId="{0DD2126C-05BA-485D-B7A7-BD693DE80C46}">
      <dsp:nvSpPr>
        <dsp:cNvPr id="0" name=""/>
        <dsp:cNvSpPr/>
      </dsp:nvSpPr>
      <dsp:spPr>
        <a:xfrm>
          <a:off x="3316370" y="56987"/>
          <a:ext cx="1453894" cy="403200"/>
        </a:xfrm>
        <a:prstGeom prst="rect">
          <a:avLst/>
        </a:prstGeom>
        <a:solidFill>
          <a:schemeClr val="accent5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5"/>
        </a:fillRef>
        <a:effectRef idx="1">
          <a:schemeClr val="accent5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bg1"/>
              </a:solidFill>
            </a:rPr>
            <a:t>Accenture AIP</a:t>
          </a:r>
        </a:p>
      </dsp:txBody>
      <dsp:txXfrm>
        <a:off x="3316370" y="56987"/>
        <a:ext cx="1453894" cy="403200"/>
      </dsp:txXfrm>
    </dsp:sp>
    <dsp:sp modelId="{BAE64A8E-B2C5-437B-920E-86D2126D1794}">
      <dsp:nvSpPr>
        <dsp:cNvPr id="0" name=""/>
        <dsp:cNvSpPr/>
      </dsp:nvSpPr>
      <dsp:spPr>
        <a:xfrm>
          <a:off x="3316370" y="460187"/>
          <a:ext cx="1453894" cy="2648067"/>
        </a:xfrm>
        <a:prstGeom prst="rect">
          <a:avLst/>
        </a:prstGeom>
        <a:solidFill>
          <a:schemeClr val="accent5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5"/>
        </a:fillRef>
        <a:effectRef idx="1">
          <a:schemeClr val="accent5"/>
        </a:effectRef>
        <a:fontRef idx="minor">
          <a:schemeClr val="lt1"/>
        </a:fontRef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400" kern="1200" dirty="0">
              <a:solidFill>
                <a:schemeClr val="bg1"/>
              </a:solidFill>
            </a:rPr>
            <a:t>优势</a:t>
          </a:r>
          <a:r>
            <a:rPr lang="en-US" altLang="zh-CN" sz="1400" kern="1200" dirty="0">
              <a:solidFill>
                <a:schemeClr val="bg1"/>
              </a:solidFill>
            </a:rPr>
            <a:t>:</a:t>
          </a:r>
          <a:r>
            <a:rPr lang="zh-CN" altLang="en-US" sz="1400" kern="1200" dirty="0">
              <a:solidFill>
                <a:schemeClr val="bg1"/>
              </a:solidFill>
            </a:rPr>
            <a:t>针对指定商用模式定制化实现，大量的样例化应用</a:t>
          </a:r>
          <a:endParaRPr lang="en-US" sz="1400" kern="1200" dirty="0">
            <a:solidFill>
              <a:schemeClr val="bg1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400" kern="1200" dirty="0">
              <a:solidFill>
                <a:schemeClr val="bg1"/>
              </a:solidFill>
            </a:rPr>
            <a:t>局限</a:t>
          </a:r>
          <a:r>
            <a:rPr lang="en-US" altLang="zh-CN" sz="1400" kern="1200" dirty="0">
              <a:solidFill>
                <a:schemeClr val="bg1"/>
              </a:solidFill>
            </a:rPr>
            <a:t>:</a:t>
          </a:r>
          <a:r>
            <a:rPr lang="zh-CN" altLang="en-US" sz="1400" kern="1200" dirty="0">
              <a:solidFill>
                <a:schemeClr val="bg1"/>
              </a:solidFill>
            </a:rPr>
            <a:t>对部分应用实现，无通用平台，无接口供用户训练及应用，对算法可选择不明确</a:t>
          </a:r>
          <a:endParaRPr lang="en-US" sz="1400" kern="1200" dirty="0">
            <a:solidFill>
              <a:schemeClr val="bg1"/>
            </a:solidFill>
          </a:endParaRPr>
        </a:p>
      </dsp:txBody>
      <dsp:txXfrm>
        <a:off x="3316370" y="460187"/>
        <a:ext cx="1453894" cy="264806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021A6C-9EF1-49ED-955F-542F75323954}">
      <dsp:nvSpPr>
        <dsp:cNvPr id="0" name=""/>
        <dsp:cNvSpPr/>
      </dsp:nvSpPr>
      <dsp:spPr>
        <a:xfrm>
          <a:off x="0" y="557005"/>
          <a:ext cx="3433267" cy="3433267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ED68B0-981D-4CFB-89A6-D9F558E70ABA}">
      <dsp:nvSpPr>
        <dsp:cNvPr id="0" name=""/>
        <dsp:cNvSpPr/>
      </dsp:nvSpPr>
      <dsp:spPr>
        <a:xfrm>
          <a:off x="1716633" y="557005"/>
          <a:ext cx="4005478" cy="343326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600" kern="1200" dirty="0"/>
            <a:t>算法定制化选择</a:t>
          </a:r>
          <a:endParaRPr lang="en-US" sz="2600" kern="1200" dirty="0"/>
        </a:p>
      </dsp:txBody>
      <dsp:txXfrm>
        <a:off x="1716633" y="557005"/>
        <a:ext cx="2002739" cy="1029982"/>
      </dsp:txXfrm>
    </dsp:sp>
    <dsp:sp modelId="{C69C7CDA-6190-4193-ABA1-15CBD4840699}">
      <dsp:nvSpPr>
        <dsp:cNvPr id="0" name=""/>
        <dsp:cNvSpPr/>
      </dsp:nvSpPr>
      <dsp:spPr>
        <a:xfrm>
          <a:off x="600822" y="1586987"/>
          <a:ext cx="2231621" cy="2231621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136E05-D209-42B6-A320-F08096981D2C}">
      <dsp:nvSpPr>
        <dsp:cNvPr id="0" name=""/>
        <dsp:cNvSpPr/>
      </dsp:nvSpPr>
      <dsp:spPr>
        <a:xfrm>
          <a:off x="1716633" y="1586987"/>
          <a:ext cx="4005478" cy="223162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600" kern="1200" dirty="0"/>
            <a:t>多种具体应用选择</a:t>
          </a:r>
          <a:endParaRPr lang="en-US" sz="2600" kern="1200" dirty="0"/>
        </a:p>
      </dsp:txBody>
      <dsp:txXfrm>
        <a:off x="1716633" y="1586987"/>
        <a:ext cx="2002739" cy="1029978"/>
      </dsp:txXfrm>
    </dsp:sp>
    <dsp:sp modelId="{39E115D9-B8F6-4711-B06D-4D6F0B886F24}">
      <dsp:nvSpPr>
        <dsp:cNvPr id="0" name=""/>
        <dsp:cNvSpPr/>
      </dsp:nvSpPr>
      <dsp:spPr>
        <a:xfrm>
          <a:off x="1201644" y="2616966"/>
          <a:ext cx="1029979" cy="1029979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526AE8-6522-484F-9E7F-4C660EB81F48}">
      <dsp:nvSpPr>
        <dsp:cNvPr id="0" name=""/>
        <dsp:cNvSpPr/>
      </dsp:nvSpPr>
      <dsp:spPr>
        <a:xfrm>
          <a:off x="1716633" y="2616966"/>
          <a:ext cx="4005478" cy="10299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600" kern="1200" dirty="0"/>
            <a:t>应用框架定制化选择</a:t>
          </a:r>
          <a:endParaRPr lang="en-US" sz="2600" kern="1200" dirty="0"/>
        </a:p>
      </dsp:txBody>
      <dsp:txXfrm>
        <a:off x="1716633" y="2616966"/>
        <a:ext cx="2002739" cy="1029979"/>
      </dsp:txXfrm>
    </dsp:sp>
    <dsp:sp modelId="{4E940597-2BFD-4CFF-A703-B791A5A8F7AA}">
      <dsp:nvSpPr>
        <dsp:cNvPr id="0" name=""/>
        <dsp:cNvSpPr/>
      </dsp:nvSpPr>
      <dsp:spPr>
        <a:xfrm>
          <a:off x="3719372" y="557005"/>
          <a:ext cx="2002739" cy="1029982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300" kern="1200" dirty="0"/>
            <a:t>传统机器学习算法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300" kern="1200" dirty="0"/>
            <a:t>集成学习算法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300" kern="1200" dirty="0"/>
            <a:t>前沿深度学习算法</a:t>
          </a:r>
          <a:endParaRPr lang="en-US" sz="1300" kern="1200" dirty="0"/>
        </a:p>
      </dsp:txBody>
      <dsp:txXfrm>
        <a:off x="3719372" y="557005"/>
        <a:ext cx="2002739" cy="1029982"/>
      </dsp:txXfrm>
    </dsp:sp>
    <dsp:sp modelId="{3B2D253E-8F8C-4646-86B2-C3C086623435}">
      <dsp:nvSpPr>
        <dsp:cNvPr id="0" name=""/>
        <dsp:cNvSpPr/>
      </dsp:nvSpPr>
      <dsp:spPr>
        <a:xfrm>
          <a:off x="3719372" y="1586987"/>
          <a:ext cx="2002739" cy="1029978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300" kern="1200" dirty="0"/>
            <a:t>分类问题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300" kern="1200" dirty="0"/>
            <a:t>回归问题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300" kern="1200" dirty="0"/>
            <a:t>聚类问题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300" kern="1200" dirty="0"/>
            <a:t>推荐问题</a:t>
          </a:r>
          <a:endParaRPr lang="en-US" sz="1300" kern="1200" dirty="0"/>
        </a:p>
      </dsp:txBody>
      <dsp:txXfrm>
        <a:off x="3719372" y="1586987"/>
        <a:ext cx="2002739" cy="1029978"/>
      </dsp:txXfrm>
    </dsp:sp>
    <dsp:sp modelId="{599E1850-2458-449C-AF9A-D8A2ADBBA8E9}">
      <dsp:nvSpPr>
        <dsp:cNvPr id="0" name=""/>
        <dsp:cNvSpPr/>
      </dsp:nvSpPr>
      <dsp:spPr>
        <a:xfrm>
          <a:off x="3719372" y="2616966"/>
          <a:ext cx="2002739" cy="1029979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T</a:t>
          </a:r>
          <a:r>
            <a:rPr lang="en-US" altLang="zh-CN" sz="1300" kern="1200" dirty="0"/>
            <a:t>ensorFlow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 err="1"/>
            <a:t>P</a:t>
          </a:r>
          <a:r>
            <a:rPr lang="en-US" altLang="zh-CN" sz="1300" kern="1200" dirty="0" err="1"/>
            <a:t>ySpark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 err="1"/>
            <a:t>SKlearn</a:t>
          </a:r>
          <a:endParaRPr lang="en-US" sz="1300" kern="1200" dirty="0"/>
        </a:p>
      </dsp:txBody>
      <dsp:txXfrm>
        <a:off x="3719372" y="2616966"/>
        <a:ext cx="2002739" cy="10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824725-052A-41AE-AF25-4B208FB73118}" type="datetimeFigureOut">
              <a:rPr lang="zh-CN" altLang="en-US" smtClean="0"/>
              <a:t>2018/12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792A71-0EF1-4E57-B77A-58C154BCDCC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70460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792A71-0EF1-4E57-B77A-58C154BCDCC0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45001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5019" y="1803400"/>
            <a:ext cx="5465637" cy="4267200"/>
          </a:xfrm>
        </p:spPr>
        <p:txBody>
          <a:bodyPr/>
          <a:lstStyle>
            <a:lvl1pPr>
              <a:lnSpc>
                <a:spcPct val="80000"/>
              </a:lnSpc>
              <a:defRPr sz="5067" cap="all" baseline="0"/>
            </a:lvl1pPr>
          </a:lstStyle>
          <a:p>
            <a:r>
              <a:rPr lang="en-US" dirty="0"/>
              <a:t>SECTION INTRO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48401" y="1772304"/>
            <a:ext cx="5565529" cy="430611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251449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916869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Light">
    <p:bg>
      <p:bgPr>
        <a:gradFill>
          <a:gsLst>
            <a:gs pos="0">
              <a:schemeClr val="accent3"/>
            </a:gs>
            <a:gs pos="100000">
              <a:schemeClr val="accent6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" y="495303"/>
            <a:ext cx="10600621" cy="6172199"/>
          </a:xfrm>
        </p:spPr>
        <p:txBody>
          <a:bodyPr>
            <a:noAutofit/>
          </a:bodyPr>
          <a:lstStyle>
            <a:lvl1pPr marL="0" indent="0">
              <a:lnSpc>
                <a:spcPct val="65000"/>
              </a:lnSpc>
              <a:defRPr sz="12000" b="0" spc="-200" baseline="0">
                <a:latin typeface="Arial Black" panose="020B0A04020102020204" pitchFamily="34" charset="0"/>
              </a:defRPr>
            </a:lvl1pPr>
            <a:lvl2pPr marL="55560" indent="0">
              <a:lnSpc>
                <a:spcPct val="65000"/>
              </a:lnSpc>
              <a:spcAft>
                <a:spcPts val="0"/>
              </a:spcAft>
              <a:defRPr sz="6000" b="0" cap="all" spc="-151" baseline="0">
                <a:latin typeface="Arial Black" panose="020B0A04020102020204" pitchFamily="34" charset="0"/>
              </a:defRPr>
            </a:lvl2pPr>
            <a:lvl3pPr marL="55560" indent="0">
              <a:lnSpc>
                <a:spcPct val="70000"/>
              </a:lnSpc>
              <a:spcAft>
                <a:spcPts val="0"/>
              </a:spcAft>
              <a:defRPr sz="4000" b="0" cap="all" baseline="0">
                <a:latin typeface="Arial Black" panose="020B0A04020102020204" pitchFamily="34" charset="0"/>
              </a:defRPr>
            </a:lvl3pPr>
            <a:lvl4pPr marL="55560" indent="0">
              <a:lnSpc>
                <a:spcPct val="80000"/>
              </a:lnSpc>
              <a:buNone/>
              <a:defRPr sz="3000" b="0" cap="all" baseline="0">
                <a:latin typeface="Arial Black" panose="020B0A04020102020204" pitchFamily="34" charset="0"/>
              </a:defRPr>
            </a:lvl4pPr>
            <a:lvl5pPr marL="55560" indent="0">
              <a:lnSpc>
                <a:spcPct val="80000"/>
              </a:lnSpc>
              <a:buNone/>
              <a:defRPr sz="2000" b="0" cap="all" baseline="0"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71305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34760"/>
          <a:stretch/>
        </p:blipFill>
        <p:spPr>
          <a:xfrm>
            <a:off x="-168619" y="1"/>
            <a:ext cx="12012188" cy="6857143"/>
          </a:xfrm>
          <a:prstGeom prst="rect">
            <a:avLst/>
          </a:prstGeom>
        </p:spPr>
      </p:pic>
      <p:sp>
        <p:nvSpPr>
          <p:cNvPr id="5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694610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975" cy="6858000"/>
          </a:xfrm>
          <a:prstGeom prst="rect">
            <a:avLst/>
          </a:prstGeom>
        </p:spPr>
      </p:pic>
      <p:pic>
        <p:nvPicPr>
          <p:cNvPr id="11" name="GTS_Strategy_KEYLINE" hidden="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4569" y="479659"/>
            <a:ext cx="5857156" cy="6076800"/>
          </a:xfrm>
          <a:prstGeom prst="rect">
            <a:avLst/>
          </a:prstGeom>
        </p:spPr>
      </p:pic>
      <p:pic>
        <p:nvPicPr>
          <p:cNvPr id="13" name="GTS_Strategy_GRADIENT_darkBG" hidden="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4569" y="479659"/>
            <a:ext cx="5857156" cy="6076800"/>
          </a:xfrm>
          <a:prstGeom prst="rect">
            <a:avLst/>
          </a:prstGeom>
        </p:spPr>
      </p:pic>
      <p:pic>
        <p:nvPicPr>
          <p:cNvPr id="10" name="GTS_Strategy_GRADIENT_lightBG" hidden="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4569" y="479659"/>
            <a:ext cx="5857156" cy="6076800"/>
          </a:xfrm>
          <a:prstGeom prst="rect">
            <a:avLst/>
          </a:prstGeom>
        </p:spPr>
      </p:pic>
      <p:pic>
        <p:nvPicPr>
          <p:cNvPr id="5" name="GTS_Strategy_DIMENSIONAL_lightBG" hidden="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44569" y="479659"/>
            <a:ext cx="5857156" cy="6076800"/>
          </a:xfrm>
          <a:prstGeom prst="rect">
            <a:avLst/>
          </a:prstGeom>
        </p:spPr>
      </p:pic>
      <p:pic>
        <p:nvPicPr>
          <p:cNvPr id="101" name="Acc_StrategyWHITE" hidden="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729885" y="352484"/>
            <a:ext cx="2959987" cy="534475"/>
          </a:xfrm>
          <a:prstGeom prst="rect">
            <a:avLst/>
          </a:prstGeom>
        </p:spPr>
      </p:pic>
      <p:pic>
        <p:nvPicPr>
          <p:cNvPr id="12" name="GTS_Strategy_DIMENSIONAL_darkB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065175" y="982115"/>
            <a:ext cx="4716888" cy="4893772"/>
          </a:xfrm>
          <a:prstGeom prst="rect">
            <a:avLst/>
          </a:prstGeom>
        </p:spPr>
      </p:pic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4941011" y="1754793"/>
            <a:ext cx="4296557" cy="3169903"/>
          </a:xfrm>
        </p:spPr>
        <p:txBody>
          <a:bodyPr tIns="252000" anchor="ctr"/>
          <a:lstStyle>
            <a:lvl1pPr>
              <a:lnSpc>
                <a:spcPct val="70000"/>
              </a:lnSpc>
              <a:defRPr sz="7200" spc="-15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</a:t>
            </a:r>
            <a:br>
              <a:rPr lang="en-US" dirty="0"/>
            </a:br>
            <a:r>
              <a:rPr lang="en-US" dirty="0"/>
              <a:t>to edit Master title</a:t>
            </a:r>
            <a:endParaRPr lang="en-AU" dirty="0"/>
          </a:p>
        </p:txBody>
      </p:sp>
      <p:sp>
        <p:nvSpPr>
          <p:cNvPr id="15" name="Freeform 6"/>
          <p:cNvSpPr>
            <a:spLocks noEditPoints="1"/>
          </p:cNvSpPr>
          <p:nvPr userDrawn="1"/>
        </p:nvSpPr>
        <p:spPr bwMode="auto">
          <a:xfrm>
            <a:off x="560755" y="839843"/>
            <a:ext cx="2686352" cy="513756"/>
          </a:xfrm>
          <a:custGeom>
            <a:avLst/>
            <a:gdLst>
              <a:gd name="T0" fmla="*/ 35 w 765"/>
              <a:gd name="T1" fmla="*/ 118 h 135"/>
              <a:gd name="T2" fmla="*/ 56 w 765"/>
              <a:gd name="T3" fmla="*/ 88 h 135"/>
              <a:gd name="T4" fmla="*/ 78 w 765"/>
              <a:gd name="T5" fmla="*/ 62 h 135"/>
              <a:gd name="T6" fmla="*/ 4 w 765"/>
              <a:gd name="T7" fmla="*/ 62 h 135"/>
              <a:gd name="T8" fmla="*/ 42 w 765"/>
              <a:gd name="T9" fmla="*/ 47 h 135"/>
              <a:gd name="T10" fmla="*/ 56 w 765"/>
              <a:gd name="T11" fmla="*/ 75 h 135"/>
              <a:gd name="T12" fmla="*/ 30 w 765"/>
              <a:gd name="T13" fmla="*/ 135 h 135"/>
              <a:gd name="T14" fmla="*/ 56 w 765"/>
              <a:gd name="T15" fmla="*/ 121 h 135"/>
              <a:gd name="T16" fmla="*/ 78 w 765"/>
              <a:gd name="T17" fmla="*/ 132 h 135"/>
              <a:gd name="T18" fmla="*/ 132 w 765"/>
              <a:gd name="T19" fmla="*/ 47 h 135"/>
              <a:gd name="T20" fmla="*/ 154 w 765"/>
              <a:gd name="T21" fmla="*/ 118 h 135"/>
              <a:gd name="T22" fmla="*/ 171 w 765"/>
              <a:gd name="T23" fmla="*/ 130 h 135"/>
              <a:gd name="T24" fmla="*/ 88 w 765"/>
              <a:gd name="T25" fmla="*/ 78 h 135"/>
              <a:gd name="T26" fmla="*/ 172 w 765"/>
              <a:gd name="T27" fmla="*/ 67 h 135"/>
              <a:gd name="T28" fmla="*/ 236 w 765"/>
              <a:gd name="T29" fmla="*/ 67 h 135"/>
              <a:gd name="T30" fmla="*/ 202 w 765"/>
              <a:gd name="T31" fmla="*/ 74 h 135"/>
              <a:gd name="T32" fmla="*/ 260 w 765"/>
              <a:gd name="T33" fmla="*/ 116 h 135"/>
              <a:gd name="T34" fmla="*/ 231 w 765"/>
              <a:gd name="T35" fmla="*/ 135 h 135"/>
              <a:gd name="T36" fmla="*/ 223 w 765"/>
              <a:gd name="T37" fmla="*/ 31 h 135"/>
              <a:gd name="T38" fmla="*/ 236 w 765"/>
              <a:gd name="T39" fmla="*/ 67 h 135"/>
              <a:gd name="T40" fmla="*/ 291 w 765"/>
              <a:gd name="T41" fmla="*/ 63 h 135"/>
              <a:gd name="T42" fmla="*/ 327 w 765"/>
              <a:gd name="T43" fmla="*/ 63 h 135"/>
              <a:gd name="T44" fmla="*/ 349 w 765"/>
              <a:gd name="T45" fmla="*/ 71 h 135"/>
              <a:gd name="T46" fmla="*/ 269 w 765"/>
              <a:gd name="T47" fmla="*/ 77 h 135"/>
              <a:gd name="T48" fmla="*/ 347 w 765"/>
              <a:gd name="T49" fmla="*/ 131 h 135"/>
              <a:gd name="T50" fmla="*/ 328 w 765"/>
              <a:gd name="T51" fmla="*/ 118 h 135"/>
              <a:gd name="T52" fmla="*/ 349 w 765"/>
              <a:gd name="T53" fmla="*/ 77 h 135"/>
              <a:gd name="T54" fmla="*/ 418 w 765"/>
              <a:gd name="T55" fmla="*/ 76 h 135"/>
              <a:gd name="T56" fmla="*/ 408 w 765"/>
              <a:gd name="T57" fmla="*/ 52 h 135"/>
              <a:gd name="T58" fmla="*/ 384 w 765"/>
              <a:gd name="T59" fmla="*/ 132 h 135"/>
              <a:gd name="T60" fmla="*/ 361 w 765"/>
              <a:gd name="T61" fmla="*/ 33 h 135"/>
              <a:gd name="T62" fmla="*/ 384 w 765"/>
              <a:gd name="T63" fmla="*/ 51 h 135"/>
              <a:gd name="T64" fmla="*/ 414 w 765"/>
              <a:gd name="T65" fmla="*/ 31 h 135"/>
              <a:gd name="T66" fmla="*/ 441 w 765"/>
              <a:gd name="T67" fmla="*/ 132 h 135"/>
              <a:gd name="T68" fmla="*/ 489 w 765"/>
              <a:gd name="T69" fmla="*/ 49 h 135"/>
              <a:gd name="T70" fmla="*/ 505 w 765"/>
              <a:gd name="T71" fmla="*/ 118 h 135"/>
              <a:gd name="T72" fmla="*/ 516 w 765"/>
              <a:gd name="T73" fmla="*/ 133 h 135"/>
              <a:gd name="T74" fmla="*/ 466 w 765"/>
              <a:gd name="T75" fmla="*/ 107 h 135"/>
              <a:gd name="T76" fmla="*/ 447 w 765"/>
              <a:gd name="T77" fmla="*/ 49 h 135"/>
              <a:gd name="T78" fmla="*/ 466 w 765"/>
              <a:gd name="T79" fmla="*/ 33 h 135"/>
              <a:gd name="T80" fmla="*/ 489 w 765"/>
              <a:gd name="T81" fmla="*/ 0 h 135"/>
              <a:gd name="T82" fmla="*/ 519 w 765"/>
              <a:gd name="T83" fmla="*/ 33 h 135"/>
              <a:gd name="T84" fmla="*/ 489 w 765"/>
              <a:gd name="T85" fmla="*/ 49 h 135"/>
              <a:gd name="T86" fmla="*/ 586 w 765"/>
              <a:gd name="T87" fmla="*/ 114 h 135"/>
              <a:gd name="T88" fmla="*/ 556 w 765"/>
              <a:gd name="T89" fmla="*/ 135 h 135"/>
              <a:gd name="T90" fmla="*/ 529 w 765"/>
              <a:gd name="T91" fmla="*/ 33 h 135"/>
              <a:gd name="T92" fmla="*/ 552 w 765"/>
              <a:gd name="T93" fmla="*/ 90 h 135"/>
              <a:gd name="T94" fmla="*/ 563 w 765"/>
              <a:gd name="T95" fmla="*/ 113 h 135"/>
              <a:gd name="T96" fmla="*/ 586 w 765"/>
              <a:gd name="T97" fmla="*/ 33 h 135"/>
              <a:gd name="T98" fmla="*/ 609 w 765"/>
              <a:gd name="T99" fmla="*/ 132 h 135"/>
              <a:gd name="T100" fmla="*/ 647 w 765"/>
              <a:gd name="T101" fmla="*/ 89 h 135"/>
              <a:gd name="T102" fmla="*/ 624 w 765"/>
              <a:gd name="T103" fmla="*/ 132 h 135"/>
              <a:gd name="T104" fmla="*/ 647 w 765"/>
              <a:gd name="T105" fmla="*/ 33 h 135"/>
              <a:gd name="T106" fmla="*/ 648 w 765"/>
              <a:gd name="T107" fmla="*/ 51 h 135"/>
              <a:gd name="T108" fmla="*/ 680 w 765"/>
              <a:gd name="T109" fmla="*/ 55 h 135"/>
              <a:gd name="T110" fmla="*/ 743 w 765"/>
              <a:gd name="T111" fmla="*/ 63 h 135"/>
              <a:gd name="T112" fmla="*/ 726 w 765"/>
              <a:gd name="T113" fmla="*/ 45 h 135"/>
              <a:gd name="T114" fmla="*/ 765 w 765"/>
              <a:gd name="T115" fmla="*/ 77 h 135"/>
              <a:gd name="T116" fmla="*/ 727 w 765"/>
              <a:gd name="T117" fmla="*/ 31 h 135"/>
              <a:gd name="T118" fmla="*/ 735 w 765"/>
              <a:gd name="T119" fmla="*/ 135 h 135"/>
              <a:gd name="T120" fmla="*/ 763 w 765"/>
              <a:gd name="T121" fmla="*/ 115 h 135"/>
              <a:gd name="T122" fmla="*/ 706 w 765"/>
              <a:gd name="T123" fmla="*/ 77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65" h="135">
                <a:moveTo>
                  <a:pt x="56" y="88"/>
                </a:moveTo>
                <a:cubicBezTo>
                  <a:pt x="56" y="101"/>
                  <a:pt x="51" y="118"/>
                  <a:pt x="35" y="118"/>
                </a:cubicBezTo>
                <a:cubicBezTo>
                  <a:pt x="28" y="118"/>
                  <a:pt x="23" y="114"/>
                  <a:pt x="23" y="106"/>
                </a:cubicBezTo>
                <a:cubicBezTo>
                  <a:pt x="23" y="91"/>
                  <a:pt x="45" y="88"/>
                  <a:pt x="56" y="88"/>
                </a:cubicBezTo>
                <a:close/>
                <a:moveTo>
                  <a:pt x="78" y="132"/>
                </a:moveTo>
                <a:cubicBezTo>
                  <a:pt x="78" y="62"/>
                  <a:pt x="78" y="62"/>
                  <a:pt x="78" y="62"/>
                </a:cubicBezTo>
                <a:cubicBezTo>
                  <a:pt x="78" y="38"/>
                  <a:pt x="63" y="31"/>
                  <a:pt x="42" y="31"/>
                </a:cubicBezTo>
                <a:cubicBezTo>
                  <a:pt x="21" y="31"/>
                  <a:pt x="4" y="39"/>
                  <a:pt x="4" y="62"/>
                </a:cubicBezTo>
                <a:cubicBezTo>
                  <a:pt x="27" y="62"/>
                  <a:pt x="27" y="62"/>
                  <a:pt x="27" y="62"/>
                </a:cubicBezTo>
                <a:cubicBezTo>
                  <a:pt x="27" y="52"/>
                  <a:pt x="32" y="47"/>
                  <a:pt x="42" y="47"/>
                </a:cubicBezTo>
                <a:cubicBezTo>
                  <a:pt x="53" y="47"/>
                  <a:pt x="56" y="55"/>
                  <a:pt x="56" y="65"/>
                </a:cubicBezTo>
                <a:cubicBezTo>
                  <a:pt x="56" y="75"/>
                  <a:pt x="56" y="75"/>
                  <a:pt x="56" y="75"/>
                </a:cubicBezTo>
                <a:cubicBezTo>
                  <a:pt x="33" y="76"/>
                  <a:pt x="0" y="79"/>
                  <a:pt x="0" y="109"/>
                </a:cubicBezTo>
                <a:cubicBezTo>
                  <a:pt x="0" y="125"/>
                  <a:pt x="14" y="135"/>
                  <a:pt x="30" y="135"/>
                </a:cubicBezTo>
                <a:cubicBezTo>
                  <a:pt x="41" y="135"/>
                  <a:pt x="51" y="131"/>
                  <a:pt x="56" y="121"/>
                </a:cubicBezTo>
                <a:cubicBezTo>
                  <a:pt x="56" y="121"/>
                  <a:pt x="56" y="121"/>
                  <a:pt x="56" y="121"/>
                </a:cubicBezTo>
                <a:cubicBezTo>
                  <a:pt x="56" y="132"/>
                  <a:pt x="56" y="132"/>
                  <a:pt x="56" y="132"/>
                </a:cubicBezTo>
                <a:lnTo>
                  <a:pt x="78" y="132"/>
                </a:lnTo>
                <a:close/>
                <a:moveTo>
                  <a:pt x="147" y="67"/>
                </a:moveTo>
                <a:cubicBezTo>
                  <a:pt x="147" y="57"/>
                  <a:pt x="144" y="47"/>
                  <a:pt x="132" y="47"/>
                </a:cubicBezTo>
                <a:cubicBezTo>
                  <a:pt x="117" y="47"/>
                  <a:pt x="113" y="62"/>
                  <a:pt x="113" y="74"/>
                </a:cubicBezTo>
                <a:cubicBezTo>
                  <a:pt x="113" y="99"/>
                  <a:pt x="128" y="118"/>
                  <a:pt x="154" y="118"/>
                </a:cubicBezTo>
                <a:cubicBezTo>
                  <a:pt x="160" y="118"/>
                  <a:pt x="165" y="118"/>
                  <a:pt x="171" y="116"/>
                </a:cubicBezTo>
                <a:cubicBezTo>
                  <a:pt x="171" y="130"/>
                  <a:pt x="171" y="130"/>
                  <a:pt x="171" y="130"/>
                </a:cubicBezTo>
                <a:cubicBezTo>
                  <a:pt x="161" y="133"/>
                  <a:pt x="151" y="135"/>
                  <a:pt x="142" y="135"/>
                </a:cubicBezTo>
                <a:cubicBezTo>
                  <a:pt x="106" y="135"/>
                  <a:pt x="88" y="113"/>
                  <a:pt x="88" y="78"/>
                </a:cubicBezTo>
                <a:cubicBezTo>
                  <a:pt x="88" y="49"/>
                  <a:pt x="104" y="31"/>
                  <a:pt x="134" y="31"/>
                </a:cubicBezTo>
                <a:cubicBezTo>
                  <a:pt x="158" y="31"/>
                  <a:pt x="172" y="42"/>
                  <a:pt x="172" y="67"/>
                </a:cubicBezTo>
                <a:lnTo>
                  <a:pt x="147" y="67"/>
                </a:lnTo>
                <a:close/>
                <a:moveTo>
                  <a:pt x="236" y="67"/>
                </a:moveTo>
                <a:cubicBezTo>
                  <a:pt x="236" y="57"/>
                  <a:pt x="233" y="47"/>
                  <a:pt x="221" y="47"/>
                </a:cubicBezTo>
                <a:cubicBezTo>
                  <a:pt x="206" y="47"/>
                  <a:pt x="202" y="62"/>
                  <a:pt x="202" y="74"/>
                </a:cubicBezTo>
                <a:cubicBezTo>
                  <a:pt x="202" y="99"/>
                  <a:pt x="217" y="118"/>
                  <a:pt x="243" y="118"/>
                </a:cubicBezTo>
                <a:cubicBezTo>
                  <a:pt x="249" y="118"/>
                  <a:pt x="254" y="118"/>
                  <a:pt x="260" y="116"/>
                </a:cubicBezTo>
                <a:cubicBezTo>
                  <a:pt x="260" y="130"/>
                  <a:pt x="260" y="130"/>
                  <a:pt x="260" y="130"/>
                </a:cubicBezTo>
                <a:cubicBezTo>
                  <a:pt x="250" y="133"/>
                  <a:pt x="241" y="135"/>
                  <a:pt x="231" y="135"/>
                </a:cubicBezTo>
                <a:cubicBezTo>
                  <a:pt x="195" y="135"/>
                  <a:pt x="177" y="113"/>
                  <a:pt x="177" y="78"/>
                </a:cubicBezTo>
                <a:cubicBezTo>
                  <a:pt x="177" y="49"/>
                  <a:pt x="193" y="31"/>
                  <a:pt x="223" y="31"/>
                </a:cubicBezTo>
                <a:cubicBezTo>
                  <a:pt x="247" y="31"/>
                  <a:pt x="261" y="42"/>
                  <a:pt x="261" y="67"/>
                </a:cubicBezTo>
                <a:lnTo>
                  <a:pt x="236" y="67"/>
                </a:lnTo>
                <a:close/>
                <a:moveTo>
                  <a:pt x="327" y="63"/>
                </a:moveTo>
                <a:cubicBezTo>
                  <a:pt x="291" y="63"/>
                  <a:pt x="291" y="63"/>
                  <a:pt x="291" y="63"/>
                </a:cubicBezTo>
                <a:cubicBezTo>
                  <a:pt x="292" y="53"/>
                  <a:pt x="300" y="45"/>
                  <a:pt x="310" y="45"/>
                </a:cubicBezTo>
                <a:cubicBezTo>
                  <a:pt x="320" y="45"/>
                  <a:pt x="327" y="52"/>
                  <a:pt x="327" y="63"/>
                </a:cubicBezTo>
                <a:close/>
                <a:moveTo>
                  <a:pt x="349" y="77"/>
                </a:moveTo>
                <a:cubicBezTo>
                  <a:pt x="349" y="71"/>
                  <a:pt x="349" y="71"/>
                  <a:pt x="349" y="71"/>
                </a:cubicBezTo>
                <a:cubicBezTo>
                  <a:pt x="349" y="47"/>
                  <a:pt x="337" y="31"/>
                  <a:pt x="311" y="31"/>
                </a:cubicBezTo>
                <a:cubicBezTo>
                  <a:pt x="282" y="31"/>
                  <a:pt x="269" y="49"/>
                  <a:pt x="269" y="77"/>
                </a:cubicBezTo>
                <a:cubicBezTo>
                  <a:pt x="269" y="110"/>
                  <a:pt x="283" y="135"/>
                  <a:pt x="319" y="135"/>
                </a:cubicBezTo>
                <a:cubicBezTo>
                  <a:pt x="328" y="135"/>
                  <a:pt x="338" y="134"/>
                  <a:pt x="347" y="131"/>
                </a:cubicBezTo>
                <a:cubicBezTo>
                  <a:pt x="347" y="115"/>
                  <a:pt x="347" y="115"/>
                  <a:pt x="347" y="115"/>
                </a:cubicBezTo>
                <a:cubicBezTo>
                  <a:pt x="341" y="117"/>
                  <a:pt x="334" y="118"/>
                  <a:pt x="328" y="118"/>
                </a:cubicBezTo>
                <a:cubicBezTo>
                  <a:pt x="305" y="118"/>
                  <a:pt x="290" y="98"/>
                  <a:pt x="290" y="77"/>
                </a:cubicBezTo>
                <a:lnTo>
                  <a:pt x="349" y="77"/>
                </a:lnTo>
                <a:close/>
                <a:moveTo>
                  <a:pt x="418" y="132"/>
                </a:moveTo>
                <a:cubicBezTo>
                  <a:pt x="418" y="76"/>
                  <a:pt x="418" y="76"/>
                  <a:pt x="418" y="76"/>
                </a:cubicBezTo>
                <a:cubicBezTo>
                  <a:pt x="418" y="71"/>
                  <a:pt x="418" y="58"/>
                  <a:pt x="414" y="54"/>
                </a:cubicBezTo>
                <a:cubicBezTo>
                  <a:pt x="413" y="53"/>
                  <a:pt x="410" y="52"/>
                  <a:pt x="408" y="52"/>
                </a:cubicBezTo>
                <a:cubicBezTo>
                  <a:pt x="391" y="52"/>
                  <a:pt x="384" y="76"/>
                  <a:pt x="384" y="89"/>
                </a:cubicBezTo>
                <a:cubicBezTo>
                  <a:pt x="384" y="132"/>
                  <a:pt x="384" y="132"/>
                  <a:pt x="384" y="132"/>
                </a:cubicBezTo>
                <a:cubicBezTo>
                  <a:pt x="361" y="132"/>
                  <a:pt x="361" y="132"/>
                  <a:pt x="361" y="132"/>
                </a:cubicBezTo>
                <a:cubicBezTo>
                  <a:pt x="361" y="33"/>
                  <a:pt x="361" y="33"/>
                  <a:pt x="361" y="33"/>
                </a:cubicBezTo>
                <a:cubicBezTo>
                  <a:pt x="384" y="33"/>
                  <a:pt x="384" y="33"/>
                  <a:pt x="384" y="33"/>
                </a:cubicBezTo>
                <a:cubicBezTo>
                  <a:pt x="384" y="51"/>
                  <a:pt x="384" y="51"/>
                  <a:pt x="384" y="51"/>
                </a:cubicBezTo>
                <a:cubicBezTo>
                  <a:pt x="385" y="51"/>
                  <a:pt x="385" y="51"/>
                  <a:pt x="385" y="51"/>
                </a:cubicBezTo>
                <a:cubicBezTo>
                  <a:pt x="390" y="39"/>
                  <a:pt x="400" y="31"/>
                  <a:pt x="414" y="31"/>
                </a:cubicBezTo>
                <a:cubicBezTo>
                  <a:pt x="433" y="31"/>
                  <a:pt x="441" y="46"/>
                  <a:pt x="441" y="63"/>
                </a:cubicBezTo>
                <a:cubicBezTo>
                  <a:pt x="441" y="132"/>
                  <a:pt x="441" y="132"/>
                  <a:pt x="441" y="132"/>
                </a:cubicBezTo>
                <a:lnTo>
                  <a:pt x="418" y="132"/>
                </a:lnTo>
                <a:close/>
                <a:moveTo>
                  <a:pt x="489" y="49"/>
                </a:moveTo>
                <a:cubicBezTo>
                  <a:pt x="489" y="96"/>
                  <a:pt x="489" y="96"/>
                  <a:pt x="489" y="96"/>
                </a:cubicBezTo>
                <a:cubicBezTo>
                  <a:pt x="489" y="108"/>
                  <a:pt x="491" y="118"/>
                  <a:pt x="505" y="118"/>
                </a:cubicBezTo>
                <a:cubicBezTo>
                  <a:pt x="509" y="118"/>
                  <a:pt x="512" y="118"/>
                  <a:pt x="516" y="117"/>
                </a:cubicBezTo>
                <a:cubicBezTo>
                  <a:pt x="516" y="133"/>
                  <a:pt x="516" y="133"/>
                  <a:pt x="516" y="133"/>
                </a:cubicBezTo>
                <a:cubicBezTo>
                  <a:pt x="510" y="134"/>
                  <a:pt x="503" y="135"/>
                  <a:pt x="497" y="135"/>
                </a:cubicBezTo>
                <a:cubicBezTo>
                  <a:pt x="477" y="135"/>
                  <a:pt x="466" y="128"/>
                  <a:pt x="466" y="107"/>
                </a:cubicBezTo>
                <a:cubicBezTo>
                  <a:pt x="466" y="49"/>
                  <a:pt x="466" y="49"/>
                  <a:pt x="466" y="49"/>
                </a:cubicBezTo>
                <a:cubicBezTo>
                  <a:pt x="447" y="49"/>
                  <a:pt x="447" y="49"/>
                  <a:pt x="447" y="49"/>
                </a:cubicBezTo>
                <a:cubicBezTo>
                  <a:pt x="447" y="33"/>
                  <a:pt x="447" y="33"/>
                  <a:pt x="447" y="33"/>
                </a:cubicBezTo>
                <a:cubicBezTo>
                  <a:pt x="466" y="33"/>
                  <a:pt x="466" y="33"/>
                  <a:pt x="466" y="33"/>
                </a:cubicBezTo>
                <a:cubicBezTo>
                  <a:pt x="466" y="9"/>
                  <a:pt x="466" y="9"/>
                  <a:pt x="466" y="9"/>
                </a:cubicBezTo>
                <a:cubicBezTo>
                  <a:pt x="489" y="0"/>
                  <a:pt x="489" y="0"/>
                  <a:pt x="489" y="0"/>
                </a:cubicBezTo>
                <a:cubicBezTo>
                  <a:pt x="489" y="33"/>
                  <a:pt x="489" y="33"/>
                  <a:pt x="489" y="33"/>
                </a:cubicBezTo>
                <a:cubicBezTo>
                  <a:pt x="519" y="33"/>
                  <a:pt x="519" y="33"/>
                  <a:pt x="519" y="33"/>
                </a:cubicBezTo>
                <a:cubicBezTo>
                  <a:pt x="519" y="49"/>
                  <a:pt x="519" y="49"/>
                  <a:pt x="519" y="49"/>
                </a:cubicBezTo>
                <a:lnTo>
                  <a:pt x="489" y="49"/>
                </a:lnTo>
                <a:close/>
                <a:moveTo>
                  <a:pt x="586" y="132"/>
                </a:moveTo>
                <a:cubicBezTo>
                  <a:pt x="586" y="114"/>
                  <a:pt x="586" y="114"/>
                  <a:pt x="586" y="114"/>
                </a:cubicBezTo>
                <a:cubicBezTo>
                  <a:pt x="586" y="114"/>
                  <a:pt x="586" y="114"/>
                  <a:pt x="586" y="114"/>
                </a:cubicBezTo>
                <a:cubicBezTo>
                  <a:pt x="580" y="126"/>
                  <a:pt x="570" y="135"/>
                  <a:pt x="556" y="135"/>
                </a:cubicBezTo>
                <a:cubicBezTo>
                  <a:pt x="537" y="135"/>
                  <a:pt x="529" y="119"/>
                  <a:pt x="529" y="102"/>
                </a:cubicBezTo>
                <a:cubicBezTo>
                  <a:pt x="529" y="33"/>
                  <a:pt x="529" y="33"/>
                  <a:pt x="529" y="33"/>
                </a:cubicBezTo>
                <a:cubicBezTo>
                  <a:pt x="552" y="33"/>
                  <a:pt x="552" y="33"/>
                  <a:pt x="552" y="33"/>
                </a:cubicBezTo>
                <a:cubicBezTo>
                  <a:pt x="552" y="90"/>
                  <a:pt x="552" y="90"/>
                  <a:pt x="552" y="90"/>
                </a:cubicBezTo>
                <a:cubicBezTo>
                  <a:pt x="552" y="95"/>
                  <a:pt x="552" y="107"/>
                  <a:pt x="556" y="111"/>
                </a:cubicBezTo>
                <a:cubicBezTo>
                  <a:pt x="558" y="113"/>
                  <a:pt x="560" y="113"/>
                  <a:pt x="563" y="113"/>
                </a:cubicBezTo>
                <a:cubicBezTo>
                  <a:pt x="579" y="113"/>
                  <a:pt x="586" y="89"/>
                  <a:pt x="586" y="76"/>
                </a:cubicBezTo>
                <a:cubicBezTo>
                  <a:pt x="586" y="33"/>
                  <a:pt x="586" y="33"/>
                  <a:pt x="586" y="33"/>
                </a:cubicBezTo>
                <a:cubicBezTo>
                  <a:pt x="609" y="33"/>
                  <a:pt x="609" y="33"/>
                  <a:pt x="609" y="33"/>
                </a:cubicBezTo>
                <a:cubicBezTo>
                  <a:pt x="609" y="132"/>
                  <a:pt x="609" y="132"/>
                  <a:pt x="609" y="132"/>
                </a:cubicBezTo>
                <a:lnTo>
                  <a:pt x="586" y="132"/>
                </a:lnTo>
                <a:close/>
                <a:moveTo>
                  <a:pt x="647" y="89"/>
                </a:moveTo>
                <a:cubicBezTo>
                  <a:pt x="647" y="132"/>
                  <a:pt x="647" y="132"/>
                  <a:pt x="647" y="132"/>
                </a:cubicBezTo>
                <a:cubicBezTo>
                  <a:pt x="624" y="132"/>
                  <a:pt x="624" y="132"/>
                  <a:pt x="624" y="132"/>
                </a:cubicBezTo>
                <a:cubicBezTo>
                  <a:pt x="624" y="33"/>
                  <a:pt x="624" y="33"/>
                  <a:pt x="624" y="33"/>
                </a:cubicBezTo>
                <a:cubicBezTo>
                  <a:pt x="647" y="33"/>
                  <a:pt x="647" y="33"/>
                  <a:pt x="647" y="33"/>
                </a:cubicBezTo>
                <a:cubicBezTo>
                  <a:pt x="647" y="51"/>
                  <a:pt x="647" y="51"/>
                  <a:pt x="647" y="51"/>
                </a:cubicBezTo>
                <a:cubicBezTo>
                  <a:pt x="648" y="51"/>
                  <a:pt x="648" y="51"/>
                  <a:pt x="648" y="51"/>
                </a:cubicBezTo>
                <a:cubicBezTo>
                  <a:pt x="655" y="37"/>
                  <a:pt x="663" y="31"/>
                  <a:pt x="680" y="31"/>
                </a:cubicBezTo>
                <a:cubicBezTo>
                  <a:pt x="680" y="55"/>
                  <a:pt x="680" y="55"/>
                  <a:pt x="680" y="55"/>
                </a:cubicBezTo>
                <a:cubicBezTo>
                  <a:pt x="656" y="55"/>
                  <a:pt x="647" y="65"/>
                  <a:pt x="647" y="89"/>
                </a:cubicBezTo>
                <a:close/>
                <a:moveTo>
                  <a:pt x="743" y="63"/>
                </a:moveTo>
                <a:cubicBezTo>
                  <a:pt x="707" y="63"/>
                  <a:pt x="707" y="63"/>
                  <a:pt x="707" y="63"/>
                </a:cubicBezTo>
                <a:cubicBezTo>
                  <a:pt x="708" y="53"/>
                  <a:pt x="715" y="45"/>
                  <a:pt x="726" y="45"/>
                </a:cubicBezTo>
                <a:cubicBezTo>
                  <a:pt x="736" y="45"/>
                  <a:pt x="743" y="52"/>
                  <a:pt x="743" y="63"/>
                </a:cubicBezTo>
                <a:close/>
                <a:moveTo>
                  <a:pt x="765" y="77"/>
                </a:moveTo>
                <a:cubicBezTo>
                  <a:pt x="765" y="71"/>
                  <a:pt x="765" y="71"/>
                  <a:pt x="765" y="71"/>
                </a:cubicBezTo>
                <a:cubicBezTo>
                  <a:pt x="765" y="47"/>
                  <a:pt x="753" y="31"/>
                  <a:pt x="727" y="31"/>
                </a:cubicBezTo>
                <a:cubicBezTo>
                  <a:pt x="698" y="31"/>
                  <a:pt x="685" y="49"/>
                  <a:pt x="685" y="77"/>
                </a:cubicBezTo>
                <a:cubicBezTo>
                  <a:pt x="685" y="110"/>
                  <a:pt x="699" y="135"/>
                  <a:pt x="735" y="135"/>
                </a:cubicBezTo>
                <a:cubicBezTo>
                  <a:pt x="744" y="135"/>
                  <a:pt x="754" y="134"/>
                  <a:pt x="763" y="131"/>
                </a:cubicBezTo>
                <a:cubicBezTo>
                  <a:pt x="763" y="115"/>
                  <a:pt x="763" y="115"/>
                  <a:pt x="763" y="115"/>
                </a:cubicBezTo>
                <a:cubicBezTo>
                  <a:pt x="757" y="117"/>
                  <a:pt x="750" y="118"/>
                  <a:pt x="744" y="118"/>
                </a:cubicBezTo>
                <a:cubicBezTo>
                  <a:pt x="721" y="118"/>
                  <a:pt x="706" y="98"/>
                  <a:pt x="706" y="77"/>
                </a:cubicBezTo>
                <a:lnTo>
                  <a:pt x="765" y="7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AU" sz="1867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8" name="Freeform 18"/>
          <p:cNvSpPr/>
          <p:nvPr userDrawn="1"/>
        </p:nvSpPr>
        <p:spPr>
          <a:xfrm>
            <a:off x="2139953" y="527349"/>
            <a:ext cx="258609" cy="286843"/>
          </a:xfrm>
          <a:custGeom>
            <a:avLst/>
            <a:gdLst>
              <a:gd name="connsiteX0" fmla="*/ 0 w 4457700"/>
              <a:gd name="connsiteY0" fmla="*/ 0 h 4552950"/>
              <a:gd name="connsiteX1" fmla="*/ 4457700 w 4457700"/>
              <a:gd name="connsiteY1" fmla="*/ 1828800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57700"/>
              <a:gd name="connsiteY0" fmla="*/ 0 h 4552950"/>
              <a:gd name="connsiteX1" fmla="*/ 4457700 w 4457700"/>
              <a:gd name="connsiteY1" fmla="*/ 1824037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57700"/>
              <a:gd name="connsiteY0" fmla="*/ 0 h 4552950"/>
              <a:gd name="connsiteX1" fmla="*/ 4457700 w 4457700"/>
              <a:gd name="connsiteY1" fmla="*/ 1816893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62462"/>
              <a:gd name="connsiteY0" fmla="*/ 0 h 4552950"/>
              <a:gd name="connsiteX1" fmla="*/ 4462462 w 4462462"/>
              <a:gd name="connsiteY1" fmla="*/ 1819275 h 4552950"/>
              <a:gd name="connsiteX2" fmla="*/ 4457700 w 4462462"/>
              <a:gd name="connsiteY2" fmla="*/ 2743200 h 4552950"/>
              <a:gd name="connsiteX3" fmla="*/ 0 w 4462462"/>
              <a:gd name="connsiteY3" fmla="*/ 4552950 h 4552950"/>
              <a:gd name="connsiteX4" fmla="*/ 0 w 4462462"/>
              <a:gd name="connsiteY4" fmla="*/ 3543300 h 4552950"/>
              <a:gd name="connsiteX5" fmla="*/ 3282950 w 4462462"/>
              <a:gd name="connsiteY5" fmla="*/ 2286000 h 4552950"/>
              <a:gd name="connsiteX6" fmla="*/ 0 w 4462462"/>
              <a:gd name="connsiteY6" fmla="*/ 1016000 h 4552950"/>
              <a:gd name="connsiteX7" fmla="*/ 0 w 4462462"/>
              <a:gd name="connsiteY7" fmla="*/ 0 h 4552950"/>
              <a:gd name="connsiteX0" fmla="*/ 0 w 4462921"/>
              <a:gd name="connsiteY0" fmla="*/ 0 h 4552950"/>
              <a:gd name="connsiteX1" fmla="*/ 4462462 w 4462921"/>
              <a:gd name="connsiteY1" fmla="*/ 1819275 h 4552950"/>
              <a:gd name="connsiteX2" fmla="*/ 4462463 w 4462921"/>
              <a:gd name="connsiteY2" fmla="*/ 2747962 h 4552950"/>
              <a:gd name="connsiteX3" fmla="*/ 0 w 4462921"/>
              <a:gd name="connsiteY3" fmla="*/ 4552950 h 4552950"/>
              <a:gd name="connsiteX4" fmla="*/ 0 w 4462921"/>
              <a:gd name="connsiteY4" fmla="*/ 3543300 h 4552950"/>
              <a:gd name="connsiteX5" fmla="*/ 3282950 w 4462921"/>
              <a:gd name="connsiteY5" fmla="*/ 2286000 h 4552950"/>
              <a:gd name="connsiteX6" fmla="*/ 0 w 4462921"/>
              <a:gd name="connsiteY6" fmla="*/ 1016000 h 4552950"/>
              <a:gd name="connsiteX7" fmla="*/ 0 w 4462921"/>
              <a:gd name="connsiteY7" fmla="*/ 0 h 4552950"/>
              <a:gd name="connsiteX0" fmla="*/ 0 w 4462921"/>
              <a:gd name="connsiteY0" fmla="*/ 0 h 4552950"/>
              <a:gd name="connsiteX1" fmla="*/ 4462462 w 4462921"/>
              <a:gd name="connsiteY1" fmla="*/ 1819275 h 4552950"/>
              <a:gd name="connsiteX2" fmla="*/ 4462463 w 4462921"/>
              <a:gd name="connsiteY2" fmla="*/ 2747962 h 4552950"/>
              <a:gd name="connsiteX3" fmla="*/ 0 w 4462921"/>
              <a:gd name="connsiteY3" fmla="*/ 4552950 h 4552950"/>
              <a:gd name="connsiteX4" fmla="*/ 0 w 4462921"/>
              <a:gd name="connsiteY4" fmla="*/ 3543300 h 4552950"/>
              <a:gd name="connsiteX5" fmla="*/ 3282950 w 4462921"/>
              <a:gd name="connsiteY5" fmla="*/ 2286000 h 4552950"/>
              <a:gd name="connsiteX6" fmla="*/ 0 w 4462921"/>
              <a:gd name="connsiteY6" fmla="*/ 1016000 h 4552950"/>
              <a:gd name="connsiteX7" fmla="*/ 0 w 4462921"/>
              <a:gd name="connsiteY7" fmla="*/ 0 h 4552950"/>
              <a:gd name="connsiteX0" fmla="*/ 0 w 4462921"/>
              <a:gd name="connsiteY0" fmla="*/ 0 h 4560094"/>
              <a:gd name="connsiteX1" fmla="*/ 4462462 w 4462921"/>
              <a:gd name="connsiteY1" fmla="*/ 1819275 h 4560094"/>
              <a:gd name="connsiteX2" fmla="*/ 4462463 w 4462921"/>
              <a:gd name="connsiteY2" fmla="*/ 2747962 h 4560094"/>
              <a:gd name="connsiteX3" fmla="*/ 2381 w 4462921"/>
              <a:gd name="connsiteY3" fmla="*/ 4560094 h 4560094"/>
              <a:gd name="connsiteX4" fmla="*/ 0 w 4462921"/>
              <a:gd name="connsiteY4" fmla="*/ 3543300 h 4560094"/>
              <a:gd name="connsiteX5" fmla="*/ 3282950 w 4462921"/>
              <a:gd name="connsiteY5" fmla="*/ 2286000 h 4560094"/>
              <a:gd name="connsiteX6" fmla="*/ 0 w 4462921"/>
              <a:gd name="connsiteY6" fmla="*/ 1016000 h 4560094"/>
              <a:gd name="connsiteX7" fmla="*/ 0 w 4462921"/>
              <a:gd name="connsiteY7" fmla="*/ 0 h 4560094"/>
              <a:gd name="connsiteX0" fmla="*/ 0 w 4462921"/>
              <a:gd name="connsiteY0" fmla="*/ 0 h 4560094"/>
              <a:gd name="connsiteX1" fmla="*/ 4462462 w 4462921"/>
              <a:gd name="connsiteY1" fmla="*/ 1819275 h 4560094"/>
              <a:gd name="connsiteX2" fmla="*/ 4462463 w 4462921"/>
              <a:gd name="connsiteY2" fmla="*/ 2747962 h 4560094"/>
              <a:gd name="connsiteX3" fmla="*/ 2381 w 4462921"/>
              <a:gd name="connsiteY3" fmla="*/ 4560094 h 4560094"/>
              <a:gd name="connsiteX4" fmla="*/ 0 w 4462921"/>
              <a:gd name="connsiteY4" fmla="*/ 3543300 h 4560094"/>
              <a:gd name="connsiteX5" fmla="*/ 3275807 w 4462921"/>
              <a:gd name="connsiteY5" fmla="*/ 2286000 h 4560094"/>
              <a:gd name="connsiteX6" fmla="*/ 0 w 4462921"/>
              <a:gd name="connsiteY6" fmla="*/ 1016000 h 4560094"/>
              <a:gd name="connsiteX7" fmla="*/ 0 w 4462921"/>
              <a:gd name="connsiteY7" fmla="*/ 0 h 4560094"/>
              <a:gd name="connsiteX0" fmla="*/ 0 w 4462921"/>
              <a:gd name="connsiteY0" fmla="*/ 0 h 4557713"/>
              <a:gd name="connsiteX1" fmla="*/ 4462462 w 4462921"/>
              <a:gd name="connsiteY1" fmla="*/ 1819275 h 4557713"/>
              <a:gd name="connsiteX2" fmla="*/ 4462463 w 4462921"/>
              <a:gd name="connsiteY2" fmla="*/ 2747962 h 4557713"/>
              <a:gd name="connsiteX3" fmla="*/ 2381 w 4462921"/>
              <a:gd name="connsiteY3" fmla="*/ 4557713 h 4557713"/>
              <a:gd name="connsiteX4" fmla="*/ 0 w 4462921"/>
              <a:gd name="connsiteY4" fmla="*/ 3543300 h 4557713"/>
              <a:gd name="connsiteX5" fmla="*/ 3275807 w 4462921"/>
              <a:gd name="connsiteY5" fmla="*/ 2286000 h 4557713"/>
              <a:gd name="connsiteX6" fmla="*/ 0 w 4462921"/>
              <a:gd name="connsiteY6" fmla="*/ 1016000 h 4557713"/>
              <a:gd name="connsiteX7" fmla="*/ 0 w 4462921"/>
              <a:gd name="connsiteY7" fmla="*/ 0 h 4557713"/>
              <a:gd name="connsiteX0" fmla="*/ 0 w 4462921"/>
              <a:gd name="connsiteY0" fmla="*/ 0 h 4562475"/>
              <a:gd name="connsiteX1" fmla="*/ 4462462 w 4462921"/>
              <a:gd name="connsiteY1" fmla="*/ 1819275 h 4562475"/>
              <a:gd name="connsiteX2" fmla="*/ 4462463 w 4462921"/>
              <a:gd name="connsiteY2" fmla="*/ 2747962 h 4562475"/>
              <a:gd name="connsiteX3" fmla="*/ 2381 w 4462921"/>
              <a:gd name="connsiteY3" fmla="*/ 4562475 h 4562475"/>
              <a:gd name="connsiteX4" fmla="*/ 0 w 4462921"/>
              <a:gd name="connsiteY4" fmla="*/ 3543300 h 4562475"/>
              <a:gd name="connsiteX5" fmla="*/ 3275807 w 4462921"/>
              <a:gd name="connsiteY5" fmla="*/ 2286000 h 4562475"/>
              <a:gd name="connsiteX6" fmla="*/ 0 w 4462921"/>
              <a:gd name="connsiteY6" fmla="*/ 1016000 h 4562475"/>
              <a:gd name="connsiteX7" fmla="*/ 0 w 4462921"/>
              <a:gd name="connsiteY7" fmla="*/ 0 h 4562475"/>
              <a:gd name="connsiteX0" fmla="*/ 2486 w 4465407"/>
              <a:gd name="connsiteY0" fmla="*/ 0 h 4564856"/>
              <a:gd name="connsiteX1" fmla="*/ 4464948 w 4465407"/>
              <a:gd name="connsiteY1" fmla="*/ 1819275 h 4564856"/>
              <a:gd name="connsiteX2" fmla="*/ 4464949 w 4465407"/>
              <a:gd name="connsiteY2" fmla="*/ 2747962 h 4564856"/>
              <a:gd name="connsiteX3" fmla="*/ 105 w 4465407"/>
              <a:gd name="connsiteY3" fmla="*/ 4564856 h 4564856"/>
              <a:gd name="connsiteX4" fmla="*/ 2486 w 4465407"/>
              <a:gd name="connsiteY4" fmla="*/ 3543300 h 4564856"/>
              <a:gd name="connsiteX5" fmla="*/ 3278293 w 4465407"/>
              <a:gd name="connsiteY5" fmla="*/ 2286000 h 4564856"/>
              <a:gd name="connsiteX6" fmla="*/ 2486 w 4465407"/>
              <a:gd name="connsiteY6" fmla="*/ 1016000 h 4564856"/>
              <a:gd name="connsiteX7" fmla="*/ 2486 w 4465407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47962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50343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55106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8417 w 4467453"/>
              <a:gd name="connsiteY5" fmla="*/ 2286000 h 4564856"/>
              <a:gd name="connsiteX6" fmla="*/ 2610 w 4467453"/>
              <a:gd name="connsiteY6" fmla="*/ 1016000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8417 w 4467453"/>
              <a:gd name="connsiteY5" fmla="*/ 2286000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1273 w 4467453"/>
              <a:gd name="connsiteY5" fmla="*/ 2288382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1273 w 4467453"/>
              <a:gd name="connsiteY5" fmla="*/ 2288382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9275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0763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0763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3145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64129 w 4465530"/>
              <a:gd name="connsiteY5" fmla="*/ 2288382 h 4564856"/>
              <a:gd name="connsiteX6" fmla="*/ 2610 w 4465530"/>
              <a:gd name="connsiteY6" fmla="*/ 1023145 h 4564856"/>
              <a:gd name="connsiteX7" fmla="*/ 2610 w 4465530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5066 w 4467986"/>
              <a:gd name="connsiteY6" fmla="*/ 1023145 h 4564856"/>
              <a:gd name="connsiteX7" fmla="*/ 0 w 4467986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2533 w 4467986"/>
              <a:gd name="connsiteY6" fmla="*/ 1018079 h 4564856"/>
              <a:gd name="connsiteX7" fmla="*/ 0 w 4467986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2533 w 4467986"/>
              <a:gd name="connsiteY6" fmla="*/ 1023145 h 4564856"/>
              <a:gd name="connsiteX7" fmla="*/ 0 w 4467986"/>
              <a:gd name="connsiteY7" fmla="*/ 0 h 4564856"/>
              <a:gd name="connsiteX0" fmla="*/ 0 w 4467986"/>
              <a:gd name="connsiteY0" fmla="*/ 0 h 4567262"/>
              <a:gd name="connsiteX1" fmla="*/ 4467527 w 4467986"/>
              <a:gd name="connsiteY1" fmla="*/ 1814537 h 4567262"/>
              <a:gd name="connsiteX2" fmla="*/ 4467529 w 4467986"/>
              <a:gd name="connsiteY2" fmla="*/ 2757512 h 4567262"/>
              <a:gd name="connsiteX3" fmla="*/ 2685 w 4467986"/>
              <a:gd name="connsiteY3" fmla="*/ 4567262 h 4567262"/>
              <a:gd name="connsiteX4" fmla="*/ 2684 w 4467986"/>
              <a:gd name="connsiteY4" fmla="*/ 3548087 h 4567262"/>
              <a:gd name="connsiteX5" fmla="*/ 3266585 w 4467986"/>
              <a:gd name="connsiteY5" fmla="*/ 2290788 h 4567262"/>
              <a:gd name="connsiteX6" fmla="*/ 2533 w 4467986"/>
              <a:gd name="connsiteY6" fmla="*/ 1025551 h 4567262"/>
              <a:gd name="connsiteX7" fmla="*/ 0 w 4467986"/>
              <a:gd name="connsiteY7" fmla="*/ 0 h 4567262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50493 h 4569668"/>
              <a:gd name="connsiteX5" fmla="*/ 3264555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48111 h 4569668"/>
              <a:gd name="connsiteX5" fmla="*/ 3264555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48111 h 4569668"/>
              <a:gd name="connsiteX5" fmla="*/ 3257411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65956" h="4569668">
                <a:moveTo>
                  <a:pt x="377" y="0"/>
                </a:moveTo>
                <a:lnTo>
                  <a:pt x="4465497" y="1816943"/>
                </a:lnTo>
                <a:cubicBezTo>
                  <a:pt x="4463910" y="2124918"/>
                  <a:pt x="4467086" y="2451943"/>
                  <a:pt x="4465499" y="2759918"/>
                </a:cubicBezTo>
                <a:lnTo>
                  <a:pt x="655" y="4569668"/>
                </a:lnTo>
                <a:cubicBezTo>
                  <a:pt x="-139" y="4230737"/>
                  <a:pt x="1448" y="3887042"/>
                  <a:pt x="654" y="3548111"/>
                </a:cubicBezTo>
                <a:lnTo>
                  <a:pt x="3257411" y="2293194"/>
                </a:lnTo>
                <a:lnTo>
                  <a:pt x="503" y="1027957"/>
                </a:lnTo>
                <a:cubicBezTo>
                  <a:pt x="-1186" y="686909"/>
                  <a:pt x="2066" y="341048"/>
                  <a:pt x="37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sz="2216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4081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9746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5020" y="1803400"/>
            <a:ext cx="5465637" cy="4267200"/>
          </a:xfrm>
        </p:spPr>
        <p:txBody>
          <a:bodyPr/>
          <a:lstStyle>
            <a:lvl1pPr>
              <a:lnSpc>
                <a:spcPct val="80000"/>
              </a:lnSpc>
              <a:defRPr sz="5067" cap="all" baseline="0"/>
            </a:lvl1pPr>
          </a:lstStyle>
          <a:p>
            <a:r>
              <a:rPr lang="en-US" dirty="0"/>
              <a:t>SECTION INTRO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48420" y="1772304"/>
            <a:ext cx="5565529" cy="430611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3"/>
          <p:cNvSpPr txBox="1">
            <a:spLocks/>
          </p:cNvSpPr>
          <p:nvPr userDrawn="1"/>
        </p:nvSpPr>
        <p:spPr>
          <a:xfrm>
            <a:off x="280072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15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70496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6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5037" y="1769805"/>
            <a:ext cx="11491383" cy="426965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10584" indent="0">
              <a:tabLst/>
              <a:defRPr lang="en-US" dirty="0" smtClean="0"/>
            </a:lvl2pPr>
            <a:lvl3pPr marL="205254" indent="-205254">
              <a:tabLst/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3"/>
          <p:cNvSpPr txBox="1">
            <a:spLocks/>
          </p:cNvSpPr>
          <p:nvPr userDrawn="1"/>
        </p:nvSpPr>
        <p:spPr>
          <a:xfrm>
            <a:off x="280072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15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743403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17" y="332079"/>
            <a:ext cx="11498552" cy="4238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5017" y="1769805"/>
            <a:ext cx="11498552" cy="426965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10584" indent="0">
              <a:tabLst/>
              <a:defRPr lang="en-US" dirty="0" smtClean="0"/>
            </a:lvl2pPr>
            <a:lvl3pPr marL="205254" indent="-205254">
              <a:tabLst/>
              <a:defRPr lang="en-US" b="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7" y="755904"/>
            <a:ext cx="11498552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20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280072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15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414489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37" y="332079"/>
            <a:ext cx="11491383" cy="4238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291072" y="1766029"/>
            <a:ext cx="5553045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133" b="1" dirty="0" smtClean="0"/>
            </a:lvl1pPr>
            <a:lvl2pPr>
              <a:defRPr lang="en-US" sz="2133" b="0" dirty="0" smtClean="0"/>
            </a:lvl2pPr>
            <a:lvl3pPr>
              <a:defRPr lang="en-US" sz="2133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45020" y="1766029"/>
            <a:ext cx="5543717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133" b="1" dirty="0" smtClean="0"/>
            </a:lvl1pPr>
            <a:lvl2pPr>
              <a:defRPr lang="en-US" sz="2133" b="0" dirty="0" smtClean="0"/>
            </a:lvl2pPr>
            <a:lvl3pPr>
              <a:defRPr lang="en-US" sz="2133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45037" y="755904"/>
            <a:ext cx="11491383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20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280072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15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537942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37" y="332079"/>
            <a:ext cx="11491383" cy="4238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8308437" y="1766029"/>
            <a:ext cx="353568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326728" y="1766029"/>
            <a:ext cx="353568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45019" y="1766029"/>
            <a:ext cx="353568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45037" y="755904"/>
            <a:ext cx="11491383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20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280072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15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970818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6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5018" y="1769805"/>
            <a:ext cx="11491383" cy="426965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10584" indent="0">
              <a:tabLst/>
              <a:defRPr lang="en-US" dirty="0" smtClean="0"/>
            </a:lvl2pPr>
            <a:lvl3pPr marL="205312" indent="-205312">
              <a:tabLst/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576891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37" y="332079"/>
            <a:ext cx="11491383" cy="42382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312809" y="1766029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5016" y="1766029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9210653" y="1766029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6261099" y="1766029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45037" y="755904"/>
            <a:ext cx="11491383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20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Footer Placeholder 3"/>
          <p:cNvSpPr txBox="1">
            <a:spLocks/>
          </p:cNvSpPr>
          <p:nvPr userDrawn="1"/>
        </p:nvSpPr>
        <p:spPr>
          <a:xfrm>
            <a:off x="280072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15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630147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3308579" y="1803400"/>
            <a:ext cx="8519356" cy="4275016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5017" y="1766029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280072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15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569445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 txBox="1">
            <a:spLocks/>
          </p:cNvSpPr>
          <p:nvPr userDrawn="1"/>
        </p:nvSpPr>
        <p:spPr>
          <a:xfrm>
            <a:off x="280072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15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87000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6348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 txBox="1">
            <a:spLocks/>
          </p:cNvSpPr>
          <p:nvPr userDrawn="1"/>
        </p:nvSpPr>
        <p:spPr>
          <a:xfrm>
            <a:off x="280072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15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303966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Light">
    <p:bg>
      <p:bgPr>
        <a:gradFill>
          <a:gsLst>
            <a:gs pos="0">
              <a:schemeClr val="accent3"/>
            </a:gs>
            <a:gs pos="100000">
              <a:schemeClr val="accent6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" y="495322"/>
            <a:ext cx="10600621" cy="6172199"/>
          </a:xfrm>
        </p:spPr>
        <p:txBody>
          <a:bodyPr>
            <a:noAutofit/>
          </a:bodyPr>
          <a:lstStyle>
            <a:lvl1pPr marL="0" indent="0">
              <a:lnSpc>
                <a:spcPct val="65000"/>
              </a:lnSpc>
              <a:defRPr sz="12000" b="0" spc="-200" baseline="0">
                <a:latin typeface="Arial Black" panose="020B0A04020102020204" pitchFamily="34" charset="0"/>
              </a:defRPr>
            </a:lvl1pPr>
            <a:lvl2pPr marL="55541" indent="0">
              <a:lnSpc>
                <a:spcPct val="65000"/>
              </a:lnSpc>
              <a:spcAft>
                <a:spcPts val="0"/>
              </a:spcAft>
              <a:defRPr sz="6000" b="0" cap="all" spc="-151" baseline="0">
                <a:latin typeface="Arial Black" panose="020B0A04020102020204" pitchFamily="34" charset="0"/>
              </a:defRPr>
            </a:lvl2pPr>
            <a:lvl3pPr marL="55541" indent="0">
              <a:lnSpc>
                <a:spcPct val="70000"/>
              </a:lnSpc>
              <a:spcAft>
                <a:spcPts val="0"/>
              </a:spcAft>
              <a:defRPr sz="4000" b="0" cap="all" baseline="0">
                <a:latin typeface="Arial Black" panose="020B0A04020102020204" pitchFamily="34" charset="0"/>
              </a:defRPr>
            </a:lvl3pPr>
            <a:lvl4pPr marL="55541" indent="0">
              <a:lnSpc>
                <a:spcPct val="80000"/>
              </a:lnSpc>
              <a:buNone/>
              <a:defRPr sz="3067" b="0" cap="all" baseline="0">
                <a:latin typeface="Arial Black" panose="020B0A04020102020204" pitchFamily="34" charset="0"/>
              </a:defRPr>
            </a:lvl4pPr>
            <a:lvl5pPr marL="55541" indent="0">
              <a:lnSpc>
                <a:spcPct val="80000"/>
              </a:lnSpc>
              <a:buNone/>
              <a:defRPr sz="2000" b="0" cap="all" baseline="0"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20828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gradFill>
          <a:gsLst>
            <a:gs pos="0">
              <a:schemeClr val="accent3"/>
            </a:gs>
            <a:gs pos="100000">
              <a:schemeClr val="accent6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 bwMode="grayWhite">
          <a:xfrm>
            <a:off x="1" y="512641"/>
            <a:ext cx="11938000" cy="8229599"/>
          </a:xfrm>
        </p:spPr>
        <p:txBody>
          <a:bodyPr/>
          <a:lstStyle>
            <a:lvl1pPr>
              <a:lnSpc>
                <a:spcPts val="10666"/>
              </a:lnSpc>
              <a:defRPr sz="12800" b="1" i="0" spc="-400"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en-US" dirty="0"/>
              <a:t>DIVIDER </a:t>
            </a:r>
            <a:r>
              <a:rPr lang="en-US" dirty="0">
                <a:solidFill>
                  <a:schemeClr val="bg1"/>
                </a:solidFill>
              </a:rPr>
              <a:t>OVER GRADIENT</a:t>
            </a:r>
          </a:p>
        </p:txBody>
      </p:sp>
    </p:spTree>
    <p:extLst>
      <p:ext uri="{BB962C8B-B14F-4D97-AF65-F5344CB8AC3E}">
        <p14:creationId xmlns:p14="http://schemas.microsoft.com/office/powerpoint/2010/main" val="7580093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34760"/>
          <a:stretch/>
        </p:blipFill>
        <p:spPr>
          <a:xfrm>
            <a:off x="-168618" y="19"/>
            <a:ext cx="12012188" cy="6857143"/>
          </a:xfrm>
          <a:prstGeom prst="rect">
            <a:avLst/>
          </a:prstGeom>
        </p:spPr>
      </p:pic>
      <p:sp>
        <p:nvSpPr>
          <p:cNvPr id="5" name="Footer Placeholder 3"/>
          <p:cNvSpPr txBox="1">
            <a:spLocks/>
          </p:cNvSpPr>
          <p:nvPr userDrawn="1"/>
        </p:nvSpPr>
        <p:spPr>
          <a:xfrm>
            <a:off x="280072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15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560920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072356" y="3906"/>
            <a:ext cx="6580649" cy="683375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22814" y="5855460"/>
            <a:ext cx="3334575" cy="569773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22814" y="1570760"/>
            <a:ext cx="3792745" cy="684709"/>
          </a:xfrm>
        </p:spPr>
        <p:txBody>
          <a:bodyPr/>
          <a:lstStyle>
            <a:lvl1pPr>
              <a:lnSpc>
                <a:spcPts val="1547"/>
              </a:lnSpc>
              <a:defRPr sz="2400" spc="-40" baseline="0">
                <a:latin typeface="+mj-lt"/>
              </a:defRPr>
            </a:lvl1pPr>
          </a:lstStyle>
          <a:p>
            <a:pPr lvl="0"/>
            <a:r>
              <a:rPr lang="en-US" dirty="0"/>
              <a:t>TITLE LINE</a:t>
            </a:r>
          </a:p>
          <a:p>
            <a:pPr lvl="0"/>
            <a:r>
              <a:rPr lang="en-US" dirty="0"/>
              <a:t>SECOND LIN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22814" y="2159911"/>
            <a:ext cx="3792745" cy="684709"/>
          </a:xfrm>
        </p:spPr>
        <p:txBody>
          <a:bodyPr/>
          <a:lstStyle>
            <a:lvl1pPr>
              <a:lnSpc>
                <a:spcPts val="1813"/>
              </a:lnSpc>
              <a:defRPr sz="1867" b="0" spc="-40" baseline="0">
                <a:latin typeface="+mn-lt"/>
              </a:defRPr>
            </a:lvl1pPr>
          </a:lstStyle>
          <a:p>
            <a:pPr lvl="0"/>
            <a:r>
              <a:rPr lang="en-US" dirty="0"/>
              <a:t>THIS IS A SUBTITLE LINE AND SECOND LINE OF SUBTITLE</a:t>
            </a:r>
          </a:p>
        </p:txBody>
      </p:sp>
    </p:spTree>
    <p:extLst>
      <p:ext uri="{BB962C8B-B14F-4D97-AF65-F5344CB8AC3E}">
        <p14:creationId xmlns:p14="http://schemas.microsoft.com/office/powerpoint/2010/main" val="28898144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" y="0"/>
            <a:ext cx="12181975" cy="6858000"/>
          </a:xfrm>
          <a:prstGeom prst="rect">
            <a:avLst/>
          </a:prstGeom>
        </p:spPr>
      </p:pic>
      <p:pic>
        <p:nvPicPr>
          <p:cNvPr id="11" name="GTS_Strategy_KEYLINE" hidden="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4571" y="479659"/>
            <a:ext cx="5857156" cy="6076800"/>
          </a:xfrm>
          <a:prstGeom prst="rect">
            <a:avLst/>
          </a:prstGeom>
        </p:spPr>
      </p:pic>
      <p:pic>
        <p:nvPicPr>
          <p:cNvPr id="13" name="GTS_Strategy_GRADIENT_darkBG" hidden="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4571" y="479659"/>
            <a:ext cx="5857156" cy="6076800"/>
          </a:xfrm>
          <a:prstGeom prst="rect">
            <a:avLst/>
          </a:prstGeom>
        </p:spPr>
      </p:pic>
      <p:pic>
        <p:nvPicPr>
          <p:cNvPr id="10" name="GTS_Strategy_GRADIENT_lightBG" hidden="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4571" y="479659"/>
            <a:ext cx="5857156" cy="6076800"/>
          </a:xfrm>
          <a:prstGeom prst="rect">
            <a:avLst/>
          </a:prstGeom>
        </p:spPr>
      </p:pic>
      <p:pic>
        <p:nvPicPr>
          <p:cNvPr id="5" name="GTS_Strategy_DIMENSIONAL_lightBG" hidden="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44571" y="479659"/>
            <a:ext cx="5857156" cy="6076800"/>
          </a:xfrm>
          <a:prstGeom prst="rect">
            <a:avLst/>
          </a:prstGeom>
        </p:spPr>
      </p:pic>
      <p:pic>
        <p:nvPicPr>
          <p:cNvPr id="101" name="Acc_StrategyWHITE" hidden="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729885" y="352485"/>
            <a:ext cx="2959987" cy="534475"/>
          </a:xfrm>
          <a:prstGeom prst="rect">
            <a:avLst/>
          </a:prstGeom>
        </p:spPr>
      </p:pic>
      <p:pic>
        <p:nvPicPr>
          <p:cNvPr id="12" name="GTS_Strategy_DIMENSIONAL_darkB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065175" y="982115"/>
            <a:ext cx="4716888" cy="4893772"/>
          </a:xfrm>
          <a:prstGeom prst="rect">
            <a:avLst/>
          </a:prstGeom>
        </p:spPr>
      </p:pic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4941012" y="1754811"/>
            <a:ext cx="4296557" cy="3169903"/>
          </a:xfrm>
        </p:spPr>
        <p:txBody>
          <a:bodyPr tIns="188942" anchor="ctr"/>
          <a:lstStyle>
            <a:lvl1pPr>
              <a:lnSpc>
                <a:spcPct val="70000"/>
              </a:lnSpc>
              <a:defRPr sz="7200" spc="-15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</a:t>
            </a:r>
            <a:br>
              <a:rPr lang="en-US" dirty="0"/>
            </a:br>
            <a:r>
              <a:rPr lang="en-US" dirty="0"/>
              <a:t>to edit Master title</a:t>
            </a:r>
            <a:endParaRPr lang="en-AU" dirty="0"/>
          </a:p>
        </p:txBody>
      </p:sp>
      <p:sp>
        <p:nvSpPr>
          <p:cNvPr id="15" name="Freeform 6"/>
          <p:cNvSpPr>
            <a:spLocks noEditPoints="1"/>
          </p:cNvSpPr>
          <p:nvPr userDrawn="1"/>
        </p:nvSpPr>
        <p:spPr bwMode="auto">
          <a:xfrm>
            <a:off x="560755" y="839843"/>
            <a:ext cx="2686352" cy="513756"/>
          </a:xfrm>
          <a:custGeom>
            <a:avLst/>
            <a:gdLst>
              <a:gd name="T0" fmla="*/ 35 w 765"/>
              <a:gd name="T1" fmla="*/ 118 h 135"/>
              <a:gd name="T2" fmla="*/ 56 w 765"/>
              <a:gd name="T3" fmla="*/ 88 h 135"/>
              <a:gd name="T4" fmla="*/ 78 w 765"/>
              <a:gd name="T5" fmla="*/ 62 h 135"/>
              <a:gd name="T6" fmla="*/ 4 w 765"/>
              <a:gd name="T7" fmla="*/ 62 h 135"/>
              <a:gd name="T8" fmla="*/ 42 w 765"/>
              <a:gd name="T9" fmla="*/ 47 h 135"/>
              <a:gd name="T10" fmla="*/ 56 w 765"/>
              <a:gd name="T11" fmla="*/ 75 h 135"/>
              <a:gd name="T12" fmla="*/ 30 w 765"/>
              <a:gd name="T13" fmla="*/ 135 h 135"/>
              <a:gd name="T14" fmla="*/ 56 w 765"/>
              <a:gd name="T15" fmla="*/ 121 h 135"/>
              <a:gd name="T16" fmla="*/ 78 w 765"/>
              <a:gd name="T17" fmla="*/ 132 h 135"/>
              <a:gd name="T18" fmla="*/ 132 w 765"/>
              <a:gd name="T19" fmla="*/ 47 h 135"/>
              <a:gd name="T20" fmla="*/ 154 w 765"/>
              <a:gd name="T21" fmla="*/ 118 h 135"/>
              <a:gd name="T22" fmla="*/ 171 w 765"/>
              <a:gd name="T23" fmla="*/ 130 h 135"/>
              <a:gd name="T24" fmla="*/ 88 w 765"/>
              <a:gd name="T25" fmla="*/ 78 h 135"/>
              <a:gd name="T26" fmla="*/ 172 w 765"/>
              <a:gd name="T27" fmla="*/ 67 h 135"/>
              <a:gd name="T28" fmla="*/ 236 w 765"/>
              <a:gd name="T29" fmla="*/ 67 h 135"/>
              <a:gd name="T30" fmla="*/ 202 w 765"/>
              <a:gd name="T31" fmla="*/ 74 h 135"/>
              <a:gd name="T32" fmla="*/ 260 w 765"/>
              <a:gd name="T33" fmla="*/ 116 h 135"/>
              <a:gd name="T34" fmla="*/ 231 w 765"/>
              <a:gd name="T35" fmla="*/ 135 h 135"/>
              <a:gd name="T36" fmla="*/ 223 w 765"/>
              <a:gd name="T37" fmla="*/ 31 h 135"/>
              <a:gd name="T38" fmla="*/ 236 w 765"/>
              <a:gd name="T39" fmla="*/ 67 h 135"/>
              <a:gd name="T40" fmla="*/ 291 w 765"/>
              <a:gd name="T41" fmla="*/ 63 h 135"/>
              <a:gd name="T42" fmla="*/ 327 w 765"/>
              <a:gd name="T43" fmla="*/ 63 h 135"/>
              <a:gd name="T44" fmla="*/ 349 w 765"/>
              <a:gd name="T45" fmla="*/ 71 h 135"/>
              <a:gd name="T46" fmla="*/ 269 w 765"/>
              <a:gd name="T47" fmla="*/ 77 h 135"/>
              <a:gd name="T48" fmla="*/ 347 w 765"/>
              <a:gd name="T49" fmla="*/ 131 h 135"/>
              <a:gd name="T50" fmla="*/ 328 w 765"/>
              <a:gd name="T51" fmla="*/ 118 h 135"/>
              <a:gd name="T52" fmla="*/ 349 w 765"/>
              <a:gd name="T53" fmla="*/ 77 h 135"/>
              <a:gd name="T54" fmla="*/ 418 w 765"/>
              <a:gd name="T55" fmla="*/ 76 h 135"/>
              <a:gd name="T56" fmla="*/ 408 w 765"/>
              <a:gd name="T57" fmla="*/ 52 h 135"/>
              <a:gd name="T58" fmla="*/ 384 w 765"/>
              <a:gd name="T59" fmla="*/ 132 h 135"/>
              <a:gd name="T60" fmla="*/ 361 w 765"/>
              <a:gd name="T61" fmla="*/ 33 h 135"/>
              <a:gd name="T62" fmla="*/ 384 w 765"/>
              <a:gd name="T63" fmla="*/ 51 h 135"/>
              <a:gd name="T64" fmla="*/ 414 w 765"/>
              <a:gd name="T65" fmla="*/ 31 h 135"/>
              <a:gd name="T66" fmla="*/ 441 w 765"/>
              <a:gd name="T67" fmla="*/ 132 h 135"/>
              <a:gd name="T68" fmla="*/ 489 w 765"/>
              <a:gd name="T69" fmla="*/ 49 h 135"/>
              <a:gd name="T70" fmla="*/ 505 w 765"/>
              <a:gd name="T71" fmla="*/ 118 h 135"/>
              <a:gd name="T72" fmla="*/ 516 w 765"/>
              <a:gd name="T73" fmla="*/ 133 h 135"/>
              <a:gd name="T74" fmla="*/ 466 w 765"/>
              <a:gd name="T75" fmla="*/ 107 h 135"/>
              <a:gd name="T76" fmla="*/ 447 w 765"/>
              <a:gd name="T77" fmla="*/ 49 h 135"/>
              <a:gd name="T78" fmla="*/ 466 w 765"/>
              <a:gd name="T79" fmla="*/ 33 h 135"/>
              <a:gd name="T80" fmla="*/ 489 w 765"/>
              <a:gd name="T81" fmla="*/ 0 h 135"/>
              <a:gd name="T82" fmla="*/ 519 w 765"/>
              <a:gd name="T83" fmla="*/ 33 h 135"/>
              <a:gd name="T84" fmla="*/ 489 w 765"/>
              <a:gd name="T85" fmla="*/ 49 h 135"/>
              <a:gd name="T86" fmla="*/ 586 w 765"/>
              <a:gd name="T87" fmla="*/ 114 h 135"/>
              <a:gd name="T88" fmla="*/ 556 w 765"/>
              <a:gd name="T89" fmla="*/ 135 h 135"/>
              <a:gd name="T90" fmla="*/ 529 w 765"/>
              <a:gd name="T91" fmla="*/ 33 h 135"/>
              <a:gd name="T92" fmla="*/ 552 w 765"/>
              <a:gd name="T93" fmla="*/ 90 h 135"/>
              <a:gd name="T94" fmla="*/ 563 w 765"/>
              <a:gd name="T95" fmla="*/ 113 h 135"/>
              <a:gd name="T96" fmla="*/ 586 w 765"/>
              <a:gd name="T97" fmla="*/ 33 h 135"/>
              <a:gd name="T98" fmla="*/ 609 w 765"/>
              <a:gd name="T99" fmla="*/ 132 h 135"/>
              <a:gd name="T100" fmla="*/ 647 w 765"/>
              <a:gd name="T101" fmla="*/ 89 h 135"/>
              <a:gd name="T102" fmla="*/ 624 w 765"/>
              <a:gd name="T103" fmla="*/ 132 h 135"/>
              <a:gd name="T104" fmla="*/ 647 w 765"/>
              <a:gd name="T105" fmla="*/ 33 h 135"/>
              <a:gd name="T106" fmla="*/ 648 w 765"/>
              <a:gd name="T107" fmla="*/ 51 h 135"/>
              <a:gd name="T108" fmla="*/ 680 w 765"/>
              <a:gd name="T109" fmla="*/ 55 h 135"/>
              <a:gd name="T110" fmla="*/ 743 w 765"/>
              <a:gd name="T111" fmla="*/ 63 h 135"/>
              <a:gd name="T112" fmla="*/ 726 w 765"/>
              <a:gd name="T113" fmla="*/ 45 h 135"/>
              <a:gd name="T114" fmla="*/ 765 w 765"/>
              <a:gd name="T115" fmla="*/ 77 h 135"/>
              <a:gd name="T116" fmla="*/ 727 w 765"/>
              <a:gd name="T117" fmla="*/ 31 h 135"/>
              <a:gd name="T118" fmla="*/ 735 w 765"/>
              <a:gd name="T119" fmla="*/ 135 h 135"/>
              <a:gd name="T120" fmla="*/ 763 w 765"/>
              <a:gd name="T121" fmla="*/ 115 h 135"/>
              <a:gd name="T122" fmla="*/ 706 w 765"/>
              <a:gd name="T123" fmla="*/ 77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65" h="135">
                <a:moveTo>
                  <a:pt x="56" y="88"/>
                </a:moveTo>
                <a:cubicBezTo>
                  <a:pt x="56" y="101"/>
                  <a:pt x="51" y="118"/>
                  <a:pt x="35" y="118"/>
                </a:cubicBezTo>
                <a:cubicBezTo>
                  <a:pt x="28" y="118"/>
                  <a:pt x="23" y="114"/>
                  <a:pt x="23" y="106"/>
                </a:cubicBezTo>
                <a:cubicBezTo>
                  <a:pt x="23" y="91"/>
                  <a:pt x="45" y="88"/>
                  <a:pt x="56" y="88"/>
                </a:cubicBezTo>
                <a:close/>
                <a:moveTo>
                  <a:pt x="78" y="132"/>
                </a:moveTo>
                <a:cubicBezTo>
                  <a:pt x="78" y="62"/>
                  <a:pt x="78" y="62"/>
                  <a:pt x="78" y="62"/>
                </a:cubicBezTo>
                <a:cubicBezTo>
                  <a:pt x="78" y="38"/>
                  <a:pt x="63" y="31"/>
                  <a:pt x="42" y="31"/>
                </a:cubicBezTo>
                <a:cubicBezTo>
                  <a:pt x="21" y="31"/>
                  <a:pt x="4" y="39"/>
                  <a:pt x="4" y="62"/>
                </a:cubicBezTo>
                <a:cubicBezTo>
                  <a:pt x="27" y="62"/>
                  <a:pt x="27" y="62"/>
                  <a:pt x="27" y="62"/>
                </a:cubicBezTo>
                <a:cubicBezTo>
                  <a:pt x="27" y="52"/>
                  <a:pt x="32" y="47"/>
                  <a:pt x="42" y="47"/>
                </a:cubicBezTo>
                <a:cubicBezTo>
                  <a:pt x="53" y="47"/>
                  <a:pt x="56" y="55"/>
                  <a:pt x="56" y="65"/>
                </a:cubicBezTo>
                <a:cubicBezTo>
                  <a:pt x="56" y="75"/>
                  <a:pt x="56" y="75"/>
                  <a:pt x="56" y="75"/>
                </a:cubicBezTo>
                <a:cubicBezTo>
                  <a:pt x="33" y="76"/>
                  <a:pt x="0" y="79"/>
                  <a:pt x="0" y="109"/>
                </a:cubicBezTo>
                <a:cubicBezTo>
                  <a:pt x="0" y="125"/>
                  <a:pt x="14" y="135"/>
                  <a:pt x="30" y="135"/>
                </a:cubicBezTo>
                <a:cubicBezTo>
                  <a:pt x="41" y="135"/>
                  <a:pt x="51" y="131"/>
                  <a:pt x="56" y="121"/>
                </a:cubicBezTo>
                <a:cubicBezTo>
                  <a:pt x="56" y="121"/>
                  <a:pt x="56" y="121"/>
                  <a:pt x="56" y="121"/>
                </a:cubicBezTo>
                <a:cubicBezTo>
                  <a:pt x="56" y="132"/>
                  <a:pt x="56" y="132"/>
                  <a:pt x="56" y="132"/>
                </a:cubicBezTo>
                <a:lnTo>
                  <a:pt x="78" y="132"/>
                </a:lnTo>
                <a:close/>
                <a:moveTo>
                  <a:pt x="147" y="67"/>
                </a:moveTo>
                <a:cubicBezTo>
                  <a:pt x="147" y="57"/>
                  <a:pt x="144" y="47"/>
                  <a:pt x="132" y="47"/>
                </a:cubicBezTo>
                <a:cubicBezTo>
                  <a:pt x="117" y="47"/>
                  <a:pt x="113" y="62"/>
                  <a:pt x="113" y="74"/>
                </a:cubicBezTo>
                <a:cubicBezTo>
                  <a:pt x="113" y="99"/>
                  <a:pt x="128" y="118"/>
                  <a:pt x="154" y="118"/>
                </a:cubicBezTo>
                <a:cubicBezTo>
                  <a:pt x="160" y="118"/>
                  <a:pt x="165" y="118"/>
                  <a:pt x="171" y="116"/>
                </a:cubicBezTo>
                <a:cubicBezTo>
                  <a:pt x="171" y="130"/>
                  <a:pt x="171" y="130"/>
                  <a:pt x="171" y="130"/>
                </a:cubicBezTo>
                <a:cubicBezTo>
                  <a:pt x="161" y="133"/>
                  <a:pt x="151" y="135"/>
                  <a:pt x="142" y="135"/>
                </a:cubicBezTo>
                <a:cubicBezTo>
                  <a:pt x="106" y="135"/>
                  <a:pt x="88" y="113"/>
                  <a:pt x="88" y="78"/>
                </a:cubicBezTo>
                <a:cubicBezTo>
                  <a:pt x="88" y="49"/>
                  <a:pt x="104" y="31"/>
                  <a:pt x="134" y="31"/>
                </a:cubicBezTo>
                <a:cubicBezTo>
                  <a:pt x="158" y="31"/>
                  <a:pt x="172" y="42"/>
                  <a:pt x="172" y="67"/>
                </a:cubicBezTo>
                <a:lnTo>
                  <a:pt x="147" y="67"/>
                </a:lnTo>
                <a:close/>
                <a:moveTo>
                  <a:pt x="236" y="67"/>
                </a:moveTo>
                <a:cubicBezTo>
                  <a:pt x="236" y="57"/>
                  <a:pt x="233" y="47"/>
                  <a:pt x="221" y="47"/>
                </a:cubicBezTo>
                <a:cubicBezTo>
                  <a:pt x="206" y="47"/>
                  <a:pt x="202" y="62"/>
                  <a:pt x="202" y="74"/>
                </a:cubicBezTo>
                <a:cubicBezTo>
                  <a:pt x="202" y="99"/>
                  <a:pt x="217" y="118"/>
                  <a:pt x="243" y="118"/>
                </a:cubicBezTo>
                <a:cubicBezTo>
                  <a:pt x="249" y="118"/>
                  <a:pt x="254" y="118"/>
                  <a:pt x="260" y="116"/>
                </a:cubicBezTo>
                <a:cubicBezTo>
                  <a:pt x="260" y="130"/>
                  <a:pt x="260" y="130"/>
                  <a:pt x="260" y="130"/>
                </a:cubicBezTo>
                <a:cubicBezTo>
                  <a:pt x="250" y="133"/>
                  <a:pt x="241" y="135"/>
                  <a:pt x="231" y="135"/>
                </a:cubicBezTo>
                <a:cubicBezTo>
                  <a:pt x="195" y="135"/>
                  <a:pt x="177" y="113"/>
                  <a:pt x="177" y="78"/>
                </a:cubicBezTo>
                <a:cubicBezTo>
                  <a:pt x="177" y="49"/>
                  <a:pt x="193" y="31"/>
                  <a:pt x="223" y="31"/>
                </a:cubicBezTo>
                <a:cubicBezTo>
                  <a:pt x="247" y="31"/>
                  <a:pt x="261" y="42"/>
                  <a:pt x="261" y="67"/>
                </a:cubicBezTo>
                <a:lnTo>
                  <a:pt x="236" y="67"/>
                </a:lnTo>
                <a:close/>
                <a:moveTo>
                  <a:pt x="327" y="63"/>
                </a:moveTo>
                <a:cubicBezTo>
                  <a:pt x="291" y="63"/>
                  <a:pt x="291" y="63"/>
                  <a:pt x="291" y="63"/>
                </a:cubicBezTo>
                <a:cubicBezTo>
                  <a:pt x="292" y="53"/>
                  <a:pt x="300" y="45"/>
                  <a:pt x="310" y="45"/>
                </a:cubicBezTo>
                <a:cubicBezTo>
                  <a:pt x="320" y="45"/>
                  <a:pt x="327" y="52"/>
                  <a:pt x="327" y="63"/>
                </a:cubicBezTo>
                <a:close/>
                <a:moveTo>
                  <a:pt x="349" y="77"/>
                </a:moveTo>
                <a:cubicBezTo>
                  <a:pt x="349" y="71"/>
                  <a:pt x="349" y="71"/>
                  <a:pt x="349" y="71"/>
                </a:cubicBezTo>
                <a:cubicBezTo>
                  <a:pt x="349" y="47"/>
                  <a:pt x="337" y="31"/>
                  <a:pt x="311" y="31"/>
                </a:cubicBezTo>
                <a:cubicBezTo>
                  <a:pt x="282" y="31"/>
                  <a:pt x="269" y="49"/>
                  <a:pt x="269" y="77"/>
                </a:cubicBezTo>
                <a:cubicBezTo>
                  <a:pt x="269" y="110"/>
                  <a:pt x="283" y="135"/>
                  <a:pt x="319" y="135"/>
                </a:cubicBezTo>
                <a:cubicBezTo>
                  <a:pt x="328" y="135"/>
                  <a:pt x="338" y="134"/>
                  <a:pt x="347" y="131"/>
                </a:cubicBezTo>
                <a:cubicBezTo>
                  <a:pt x="347" y="115"/>
                  <a:pt x="347" y="115"/>
                  <a:pt x="347" y="115"/>
                </a:cubicBezTo>
                <a:cubicBezTo>
                  <a:pt x="341" y="117"/>
                  <a:pt x="334" y="118"/>
                  <a:pt x="328" y="118"/>
                </a:cubicBezTo>
                <a:cubicBezTo>
                  <a:pt x="305" y="118"/>
                  <a:pt x="290" y="98"/>
                  <a:pt x="290" y="77"/>
                </a:cubicBezTo>
                <a:lnTo>
                  <a:pt x="349" y="77"/>
                </a:lnTo>
                <a:close/>
                <a:moveTo>
                  <a:pt x="418" y="132"/>
                </a:moveTo>
                <a:cubicBezTo>
                  <a:pt x="418" y="76"/>
                  <a:pt x="418" y="76"/>
                  <a:pt x="418" y="76"/>
                </a:cubicBezTo>
                <a:cubicBezTo>
                  <a:pt x="418" y="71"/>
                  <a:pt x="418" y="58"/>
                  <a:pt x="414" y="54"/>
                </a:cubicBezTo>
                <a:cubicBezTo>
                  <a:pt x="413" y="53"/>
                  <a:pt x="410" y="52"/>
                  <a:pt x="408" y="52"/>
                </a:cubicBezTo>
                <a:cubicBezTo>
                  <a:pt x="391" y="52"/>
                  <a:pt x="384" y="76"/>
                  <a:pt x="384" y="89"/>
                </a:cubicBezTo>
                <a:cubicBezTo>
                  <a:pt x="384" y="132"/>
                  <a:pt x="384" y="132"/>
                  <a:pt x="384" y="132"/>
                </a:cubicBezTo>
                <a:cubicBezTo>
                  <a:pt x="361" y="132"/>
                  <a:pt x="361" y="132"/>
                  <a:pt x="361" y="132"/>
                </a:cubicBezTo>
                <a:cubicBezTo>
                  <a:pt x="361" y="33"/>
                  <a:pt x="361" y="33"/>
                  <a:pt x="361" y="33"/>
                </a:cubicBezTo>
                <a:cubicBezTo>
                  <a:pt x="384" y="33"/>
                  <a:pt x="384" y="33"/>
                  <a:pt x="384" y="33"/>
                </a:cubicBezTo>
                <a:cubicBezTo>
                  <a:pt x="384" y="51"/>
                  <a:pt x="384" y="51"/>
                  <a:pt x="384" y="51"/>
                </a:cubicBezTo>
                <a:cubicBezTo>
                  <a:pt x="385" y="51"/>
                  <a:pt x="385" y="51"/>
                  <a:pt x="385" y="51"/>
                </a:cubicBezTo>
                <a:cubicBezTo>
                  <a:pt x="390" y="39"/>
                  <a:pt x="400" y="31"/>
                  <a:pt x="414" y="31"/>
                </a:cubicBezTo>
                <a:cubicBezTo>
                  <a:pt x="433" y="31"/>
                  <a:pt x="441" y="46"/>
                  <a:pt x="441" y="63"/>
                </a:cubicBezTo>
                <a:cubicBezTo>
                  <a:pt x="441" y="132"/>
                  <a:pt x="441" y="132"/>
                  <a:pt x="441" y="132"/>
                </a:cubicBezTo>
                <a:lnTo>
                  <a:pt x="418" y="132"/>
                </a:lnTo>
                <a:close/>
                <a:moveTo>
                  <a:pt x="489" y="49"/>
                </a:moveTo>
                <a:cubicBezTo>
                  <a:pt x="489" y="96"/>
                  <a:pt x="489" y="96"/>
                  <a:pt x="489" y="96"/>
                </a:cubicBezTo>
                <a:cubicBezTo>
                  <a:pt x="489" y="108"/>
                  <a:pt x="491" y="118"/>
                  <a:pt x="505" y="118"/>
                </a:cubicBezTo>
                <a:cubicBezTo>
                  <a:pt x="509" y="118"/>
                  <a:pt x="512" y="118"/>
                  <a:pt x="516" y="117"/>
                </a:cubicBezTo>
                <a:cubicBezTo>
                  <a:pt x="516" y="133"/>
                  <a:pt x="516" y="133"/>
                  <a:pt x="516" y="133"/>
                </a:cubicBezTo>
                <a:cubicBezTo>
                  <a:pt x="510" y="134"/>
                  <a:pt x="503" y="135"/>
                  <a:pt x="497" y="135"/>
                </a:cubicBezTo>
                <a:cubicBezTo>
                  <a:pt x="477" y="135"/>
                  <a:pt x="466" y="128"/>
                  <a:pt x="466" y="107"/>
                </a:cubicBezTo>
                <a:cubicBezTo>
                  <a:pt x="466" y="49"/>
                  <a:pt x="466" y="49"/>
                  <a:pt x="466" y="49"/>
                </a:cubicBezTo>
                <a:cubicBezTo>
                  <a:pt x="447" y="49"/>
                  <a:pt x="447" y="49"/>
                  <a:pt x="447" y="49"/>
                </a:cubicBezTo>
                <a:cubicBezTo>
                  <a:pt x="447" y="33"/>
                  <a:pt x="447" y="33"/>
                  <a:pt x="447" y="33"/>
                </a:cubicBezTo>
                <a:cubicBezTo>
                  <a:pt x="466" y="33"/>
                  <a:pt x="466" y="33"/>
                  <a:pt x="466" y="33"/>
                </a:cubicBezTo>
                <a:cubicBezTo>
                  <a:pt x="466" y="9"/>
                  <a:pt x="466" y="9"/>
                  <a:pt x="466" y="9"/>
                </a:cubicBezTo>
                <a:cubicBezTo>
                  <a:pt x="489" y="0"/>
                  <a:pt x="489" y="0"/>
                  <a:pt x="489" y="0"/>
                </a:cubicBezTo>
                <a:cubicBezTo>
                  <a:pt x="489" y="33"/>
                  <a:pt x="489" y="33"/>
                  <a:pt x="489" y="33"/>
                </a:cubicBezTo>
                <a:cubicBezTo>
                  <a:pt x="519" y="33"/>
                  <a:pt x="519" y="33"/>
                  <a:pt x="519" y="33"/>
                </a:cubicBezTo>
                <a:cubicBezTo>
                  <a:pt x="519" y="49"/>
                  <a:pt x="519" y="49"/>
                  <a:pt x="519" y="49"/>
                </a:cubicBezTo>
                <a:lnTo>
                  <a:pt x="489" y="49"/>
                </a:lnTo>
                <a:close/>
                <a:moveTo>
                  <a:pt x="586" y="132"/>
                </a:moveTo>
                <a:cubicBezTo>
                  <a:pt x="586" y="114"/>
                  <a:pt x="586" y="114"/>
                  <a:pt x="586" y="114"/>
                </a:cubicBezTo>
                <a:cubicBezTo>
                  <a:pt x="586" y="114"/>
                  <a:pt x="586" y="114"/>
                  <a:pt x="586" y="114"/>
                </a:cubicBezTo>
                <a:cubicBezTo>
                  <a:pt x="580" y="126"/>
                  <a:pt x="570" y="135"/>
                  <a:pt x="556" y="135"/>
                </a:cubicBezTo>
                <a:cubicBezTo>
                  <a:pt x="537" y="135"/>
                  <a:pt x="529" y="119"/>
                  <a:pt x="529" y="102"/>
                </a:cubicBezTo>
                <a:cubicBezTo>
                  <a:pt x="529" y="33"/>
                  <a:pt x="529" y="33"/>
                  <a:pt x="529" y="33"/>
                </a:cubicBezTo>
                <a:cubicBezTo>
                  <a:pt x="552" y="33"/>
                  <a:pt x="552" y="33"/>
                  <a:pt x="552" y="33"/>
                </a:cubicBezTo>
                <a:cubicBezTo>
                  <a:pt x="552" y="90"/>
                  <a:pt x="552" y="90"/>
                  <a:pt x="552" y="90"/>
                </a:cubicBezTo>
                <a:cubicBezTo>
                  <a:pt x="552" y="95"/>
                  <a:pt x="552" y="107"/>
                  <a:pt x="556" y="111"/>
                </a:cubicBezTo>
                <a:cubicBezTo>
                  <a:pt x="558" y="113"/>
                  <a:pt x="560" y="113"/>
                  <a:pt x="563" y="113"/>
                </a:cubicBezTo>
                <a:cubicBezTo>
                  <a:pt x="579" y="113"/>
                  <a:pt x="586" y="89"/>
                  <a:pt x="586" y="76"/>
                </a:cubicBezTo>
                <a:cubicBezTo>
                  <a:pt x="586" y="33"/>
                  <a:pt x="586" y="33"/>
                  <a:pt x="586" y="33"/>
                </a:cubicBezTo>
                <a:cubicBezTo>
                  <a:pt x="609" y="33"/>
                  <a:pt x="609" y="33"/>
                  <a:pt x="609" y="33"/>
                </a:cubicBezTo>
                <a:cubicBezTo>
                  <a:pt x="609" y="132"/>
                  <a:pt x="609" y="132"/>
                  <a:pt x="609" y="132"/>
                </a:cubicBezTo>
                <a:lnTo>
                  <a:pt x="586" y="132"/>
                </a:lnTo>
                <a:close/>
                <a:moveTo>
                  <a:pt x="647" y="89"/>
                </a:moveTo>
                <a:cubicBezTo>
                  <a:pt x="647" y="132"/>
                  <a:pt x="647" y="132"/>
                  <a:pt x="647" y="132"/>
                </a:cubicBezTo>
                <a:cubicBezTo>
                  <a:pt x="624" y="132"/>
                  <a:pt x="624" y="132"/>
                  <a:pt x="624" y="132"/>
                </a:cubicBezTo>
                <a:cubicBezTo>
                  <a:pt x="624" y="33"/>
                  <a:pt x="624" y="33"/>
                  <a:pt x="624" y="33"/>
                </a:cubicBezTo>
                <a:cubicBezTo>
                  <a:pt x="647" y="33"/>
                  <a:pt x="647" y="33"/>
                  <a:pt x="647" y="33"/>
                </a:cubicBezTo>
                <a:cubicBezTo>
                  <a:pt x="647" y="51"/>
                  <a:pt x="647" y="51"/>
                  <a:pt x="647" y="51"/>
                </a:cubicBezTo>
                <a:cubicBezTo>
                  <a:pt x="648" y="51"/>
                  <a:pt x="648" y="51"/>
                  <a:pt x="648" y="51"/>
                </a:cubicBezTo>
                <a:cubicBezTo>
                  <a:pt x="655" y="37"/>
                  <a:pt x="663" y="31"/>
                  <a:pt x="680" y="31"/>
                </a:cubicBezTo>
                <a:cubicBezTo>
                  <a:pt x="680" y="55"/>
                  <a:pt x="680" y="55"/>
                  <a:pt x="680" y="55"/>
                </a:cubicBezTo>
                <a:cubicBezTo>
                  <a:pt x="656" y="55"/>
                  <a:pt x="647" y="65"/>
                  <a:pt x="647" y="89"/>
                </a:cubicBezTo>
                <a:close/>
                <a:moveTo>
                  <a:pt x="743" y="63"/>
                </a:moveTo>
                <a:cubicBezTo>
                  <a:pt x="707" y="63"/>
                  <a:pt x="707" y="63"/>
                  <a:pt x="707" y="63"/>
                </a:cubicBezTo>
                <a:cubicBezTo>
                  <a:pt x="708" y="53"/>
                  <a:pt x="715" y="45"/>
                  <a:pt x="726" y="45"/>
                </a:cubicBezTo>
                <a:cubicBezTo>
                  <a:pt x="736" y="45"/>
                  <a:pt x="743" y="52"/>
                  <a:pt x="743" y="63"/>
                </a:cubicBezTo>
                <a:close/>
                <a:moveTo>
                  <a:pt x="765" y="77"/>
                </a:moveTo>
                <a:cubicBezTo>
                  <a:pt x="765" y="71"/>
                  <a:pt x="765" y="71"/>
                  <a:pt x="765" y="71"/>
                </a:cubicBezTo>
                <a:cubicBezTo>
                  <a:pt x="765" y="47"/>
                  <a:pt x="753" y="31"/>
                  <a:pt x="727" y="31"/>
                </a:cubicBezTo>
                <a:cubicBezTo>
                  <a:pt x="698" y="31"/>
                  <a:pt x="685" y="49"/>
                  <a:pt x="685" y="77"/>
                </a:cubicBezTo>
                <a:cubicBezTo>
                  <a:pt x="685" y="110"/>
                  <a:pt x="699" y="135"/>
                  <a:pt x="735" y="135"/>
                </a:cubicBezTo>
                <a:cubicBezTo>
                  <a:pt x="744" y="135"/>
                  <a:pt x="754" y="134"/>
                  <a:pt x="763" y="131"/>
                </a:cubicBezTo>
                <a:cubicBezTo>
                  <a:pt x="763" y="115"/>
                  <a:pt x="763" y="115"/>
                  <a:pt x="763" y="115"/>
                </a:cubicBezTo>
                <a:cubicBezTo>
                  <a:pt x="757" y="117"/>
                  <a:pt x="750" y="118"/>
                  <a:pt x="744" y="118"/>
                </a:cubicBezTo>
                <a:cubicBezTo>
                  <a:pt x="721" y="118"/>
                  <a:pt x="706" y="98"/>
                  <a:pt x="706" y="77"/>
                </a:cubicBezTo>
                <a:lnTo>
                  <a:pt x="765" y="7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885" tIns="60943" rIns="121885" bIns="6094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AU" sz="1867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8" name="Freeform 18"/>
          <p:cNvSpPr/>
          <p:nvPr userDrawn="1"/>
        </p:nvSpPr>
        <p:spPr>
          <a:xfrm>
            <a:off x="2139972" y="527349"/>
            <a:ext cx="258609" cy="286843"/>
          </a:xfrm>
          <a:custGeom>
            <a:avLst/>
            <a:gdLst>
              <a:gd name="connsiteX0" fmla="*/ 0 w 4457700"/>
              <a:gd name="connsiteY0" fmla="*/ 0 h 4552950"/>
              <a:gd name="connsiteX1" fmla="*/ 4457700 w 4457700"/>
              <a:gd name="connsiteY1" fmla="*/ 1828800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57700"/>
              <a:gd name="connsiteY0" fmla="*/ 0 h 4552950"/>
              <a:gd name="connsiteX1" fmla="*/ 4457700 w 4457700"/>
              <a:gd name="connsiteY1" fmla="*/ 1824037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57700"/>
              <a:gd name="connsiteY0" fmla="*/ 0 h 4552950"/>
              <a:gd name="connsiteX1" fmla="*/ 4457700 w 4457700"/>
              <a:gd name="connsiteY1" fmla="*/ 1816893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62462"/>
              <a:gd name="connsiteY0" fmla="*/ 0 h 4552950"/>
              <a:gd name="connsiteX1" fmla="*/ 4462462 w 4462462"/>
              <a:gd name="connsiteY1" fmla="*/ 1819275 h 4552950"/>
              <a:gd name="connsiteX2" fmla="*/ 4457700 w 4462462"/>
              <a:gd name="connsiteY2" fmla="*/ 2743200 h 4552950"/>
              <a:gd name="connsiteX3" fmla="*/ 0 w 4462462"/>
              <a:gd name="connsiteY3" fmla="*/ 4552950 h 4552950"/>
              <a:gd name="connsiteX4" fmla="*/ 0 w 4462462"/>
              <a:gd name="connsiteY4" fmla="*/ 3543300 h 4552950"/>
              <a:gd name="connsiteX5" fmla="*/ 3282950 w 4462462"/>
              <a:gd name="connsiteY5" fmla="*/ 2286000 h 4552950"/>
              <a:gd name="connsiteX6" fmla="*/ 0 w 4462462"/>
              <a:gd name="connsiteY6" fmla="*/ 1016000 h 4552950"/>
              <a:gd name="connsiteX7" fmla="*/ 0 w 4462462"/>
              <a:gd name="connsiteY7" fmla="*/ 0 h 4552950"/>
              <a:gd name="connsiteX0" fmla="*/ 0 w 4462921"/>
              <a:gd name="connsiteY0" fmla="*/ 0 h 4552950"/>
              <a:gd name="connsiteX1" fmla="*/ 4462462 w 4462921"/>
              <a:gd name="connsiteY1" fmla="*/ 1819275 h 4552950"/>
              <a:gd name="connsiteX2" fmla="*/ 4462463 w 4462921"/>
              <a:gd name="connsiteY2" fmla="*/ 2747962 h 4552950"/>
              <a:gd name="connsiteX3" fmla="*/ 0 w 4462921"/>
              <a:gd name="connsiteY3" fmla="*/ 4552950 h 4552950"/>
              <a:gd name="connsiteX4" fmla="*/ 0 w 4462921"/>
              <a:gd name="connsiteY4" fmla="*/ 3543300 h 4552950"/>
              <a:gd name="connsiteX5" fmla="*/ 3282950 w 4462921"/>
              <a:gd name="connsiteY5" fmla="*/ 2286000 h 4552950"/>
              <a:gd name="connsiteX6" fmla="*/ 0 w 4462921"/>
              <a:gd name="connsiteY6" fmla="*/ 1016000 h 4552950"/>
              <a:gd name="connsiteX7" fmla="*/ 0 w 4462921"/>
              <a:gd name="connsiteY7" fmla="*/ 0 h 4552950"/>
              <a:gd name="connsiteX0" fmla="*/ 0 w 4462921"/>
              <a:gd name="connsiteY0" fmla="*/ 0 h 4552950"/>
              <a:gd name="connsiteX1" fmla="*/ 4462462 w 4462921"/>
              <a:gd name="connsiteY1" fmla="*/ 1819275 h 4552950"/>
              <a:gd name="connsiteX2" fmla="*/ 4462463 w 4462921"/>
              <a:gd name="connsiteY2" fmla="*/ 2747962 h 4552950"/>
              <a:gd name="connsiteX3" fmla="*/ 0 w 4462921"/>
              <a:gd name="connsiteY3" fmla="*/ 4552950 h 4552950"/>
              <a:gd name="connsiteX4" fmla="*/ 0 w 4462921"/>
              <a:gd name="connsiteY4" fmla="*/ 3543300 h 4552950"/>
              <a:gd name="connsiteX5" fmla="*/ 3282950 w 4462921"/>
              <a:gd name="connsiteY5" fmla="*/ 2286000 h 4552950"/>
              <a:gd name="connsiteX6" fmla="*/ 0 w 4462921"/>
              <a:gd name="connsiteY6" fmla="*/ 1016000 h 4552950"/>
              <a:gd name="connsiteX7" fmla="*/ 0 w 4462921"/>
              <a:gd name="connsiteY7" fmla="*/ 0 h 4552950"/>
              <a:gd name="connsiteX0" fmla="*/ 0 w 4462921"/>
              <a:gd name="connsiteY0" fmla="*/ 0 h 4560094"/>
              <a:gd name="connsiteX1" fmla="*/ 4462462 w 4462921"/>
              <a:gd name="connsiteY1" fmla="*/ 1819275 h 4560094"/>
              <a:gd name="connsiteX2" fmla="*/ 4462463 w 4462921"/>
              <a:gd name="connsiteY2" fmla="*/ 2747962 h 4560094"/>
              <a:gd name="connsiteX3" fmla="*/ 2381 w 4462921"/>
              <a:gd name="connsiteY3" fmla="*/ 4560094 h 4560094"/>
              <a:gd name="connsiteX4" fmla="*/ 0 w 4462921"/>
              <a:gd name="connsiteY4" fmla="*/ 3543300 h 4560094"/>
              <a:gd name="connsiteX5" fmla="*/ 3282950 w 4462921"/>
              <a:gd name="connsiteY5" fmla="*/ 2286000 h 4560094"/>
              <a:gd name="connsiteX6" fmla="*/ 0 w 4462921"/>
              <a:gd name="connsiteY6" fmla="*/ 1016000 h 4560094"/>
              <a:gd name="connsiteX7" fmla="*/ 0 w 4462921"/>
              <a:gd name="connsiteY7" fmla="*/ 0 h 4560094"/>
              <a:gd name="connsiteX0" fmla="*/ 0 w 4462921"/>
              <a:gd name="connsiteY0" fmla="*/ 0 h 4560094"/>
              <a:gd name="connsiteX1" fmla="*/ 4462462 w 4462921"/>
              <a:gd name="connsiteY1" fmla="*/ 1819275 h 4560094"/>
              <a:gd name="connsiteX2" fmla="*/ 4462463 w 4462921"/>
              <a:gd name="connsiteY2" fmla="*/ 2747962 h 4560094"/>
              <a:gd name="connsiteX3" fmla="*/ 2381 w 4462921"/>
              <a:gd name="connsiteY3" fmla="*/ 4560094 h 4560094"/>
              <a:gd name="connsiteX4" fmla="*/ 0 w 4462921"/>
              <a:gd name="connsiteY4" fmla="*/ 3543300 h 4560094"/>
              <a:gd name="connsiteX5" fmla="*/ 3275807 w 4462921"/>
              <a:gd name="connsiteY5" fmla="*/ 2286000 h 4560094"/>
              <a:gd name="connsiteX6" fmla="*/ 0 w 4462921"/>
              <a:gd name="connsiteY6" fmla="*/ 1016000 h 4560094"/>
              <a:gd name="connsiteX7" fmla="*/ 0 w 4462921"/>
              <a:gd name="connsiteY7" fmla="*/ 0 h 4560094"/>
              <a:gd name="connsiteX0" fmla="*/ 0 w 4462921"/>
              <a:gd name="connsiteY0" fmla="*/ 0 h 4557713"/>
              <a:gd name="connsiteX1" fmla="*/ 4462462 w 4462921"/>
              <a:gd name="connsiteY1" fmla="*/ 1819275 h 4557713"/>
              <a:gd name="connsiteX2" fmla="*/ 4462463 w 4462921"/>
              <a:gd name="connsiteY2" fmla="*/ 2747962 h 4557713"/>
              <a:gd name="connsiteX3" fmla="*/ 2381 w 4462921"/>
              <a:gd name="connsiteY3" fmla="*/ 4557713 h 4557713"/>
              <a:gd name="connsiteX4" fmla="*/ 0 w 4462921"/>
              <a:gd name="connsiteY4" fmla="*/ 3543300 h 4557713"/>
              <a:gd name="connsiteX5" fmla="*/ 3275807 w 4462921"/>
              <a:gd name="connsiteY5" fmla="*/ 2286000 h 4557713"/>
              <a:gd name="connsiteX6" fmla="*/ 0 w 4462921"/>
              <a:gd name="connsiteY6" fmla="*/ 1016000 h 4557713"/>
              <a:gd name="connsiteX7" fmla="*/ 0 w 4462921"/>
              <a:gd name="connsiteY7" fmla="*/ 0 h 4557713"/>
              <a:gd name="connsiteX0" fmla="*/ 0 w 4462921"/>
              <a:gd name="connsiteY0" fmla="*/ 0 h 4562475"/>
              <a:gd name="connsiteX1" fmla="*/ 4462462 w 4462921"/>
              <a:gd name="connsiteY1" fmla="*/ 1819275 h 4562475"/>
              <a:gd name="connsiteX2" fmla="*/ 4462463 w 4462921"/>
              <a:gd name="connsiteY2" fmla="*/ 2747962 h 4562475"/>
              <a:gd name="connsiteX3" fmla="*/ 2381 w 4462921"/>
              <a:gd name="connsiteY3" fmla="*/ 4562475 h 4562475"/>
              <a:gd name="connsiteX4" fmla="*/ 0 w 4462921"/>
              <a:gd name="connsiteY4" fmla="*/ 3543300 h 4562475"/>
              <a:gd name="connsiteX5" fmla="*/ 3275807 w 4462921"/>
              <a:gd name="connsiteY5" fmla="*/ 2286000 h 4562475"/>
              <a:gd name="connsiteX6" fmla="*/ 0 w 4462921"/>
              <a:gd name="connsiteY6" fmla="*/ 1016000 h 4562475"/>
              <a:gd name="connsiteX7" fmla="*/ 0 w 4462921"/>
              <a:gd name="connsiteY7" fmla="*/ 0 h 4562475"/>
              <a:gd name="connsiteX0" fmla="*/ 2486 w 4465407"/>
              <a:gd name="connsiteY0" fmla="*/ 0 h 4564856"/>
              <a:gd name="connsiteX1" fmla="*/ 4464948 w 4465407"/>
              <a:gd name="connsiteY1" fmla="*/ 1819275 h 4564856"/>
              <a:gd name="connsiteX2" fmla="*/ 4464949 w 4465407"/>
              <a:gd name="connsiteY2" fmla="*/ 2747962 h 4564856"/>
              <a:gd name="connsiteX3" fmla="*/ 105 w 4465407"/>
              <a:gd name="connsiteY3" fmla="*/ 4564856 h 4564856"/>
              <a:gd name="connsiteX4" fmla="*/ 2486 w 4465407"/>
              <a:gd name="connsiteY4" fmla="*/ 3543300 h 4564856"/>
              <a:gd name="connsiteX5" fmla="*/ 3278293 w 4465407"/>
              <a:gd name="connsiteY5" fmla="*/ 2286000 h 4564856"/>
              <a:gd name="connsiteX6" fmla="*/ 2486 w 4465407"/>
              <a:gd name="connsiteY6" fmla="*/ 1016000 h 4564856"/>
              <a:gd name="connsiteX7" fmla="*/ 2486 w 4465407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47962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50343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55106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8417 w 4467453"/>
              <a:gd name="connsiteY5" fmla="*/ 2286000 h 4564856"/>
              <a:gd name="connsiteX6" fmla="*/ 2610 w 4467453"/>
              <a:gd name="connsiteY6" fmla="*/ 1016000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8417 w 4467453"/>
              <a:gd name="connsiteY5" fmla="*/ 2286000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1273 w 4467453"/>
              <a:gd name="connsiteY5" fmla="*/ 2288382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1273 w 4467453"/>
              <a:gd name="connsiteY5" fmla="*/ 2288382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9275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0763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0763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3145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64129 w 4465530"/>
              <a:gd name="connsiteY5" fmla="*/ 2288382 h 4564856"/>
              <a:gd name="connsiteX6" fmla="*/ 2610 w 4465530"/>
              <a:gd name="connsiteY6" fmla="*/ 1023145 h 4564856"/>
              <a:gd name="connsiteX7" fmla="*/ 2610 w 4465530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5066 w 4467986"/>
              <a:gd name="connsiteY6" fmla="*/ 1023145 h 4564856"/>
              <a:gd name="connsiteX7" fmla="*/ 0 w 4467986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2533 w 4467986"/>
              <a:gd name="connsiteY6" fmla="*/ 1018079 h 4564856"/>
              <a:gd name="connsiteX7" fmla="*/ 0 w 4467986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2533 w 4467986"/>
              <a:gd name="connsiteY6" fmla="*/ 1023145 h 4564856"/>
              <a:gd name="connsiteX7" fmla="*/ 0 w 4467986"/>
              <a:gd name="connsiteY7" fmla="*/ 0 h 4564856"/>
              <a:gd name="connsiteX0" fmla="*/ 0 w 4467986"/>
              <a:gd name="connsiteY0" fmla="*/ 0 h 4567262"/>
              <a:gd name="connsiteX1" fmla="*/ 4467527 w 4467986"/>
              <a:gd name="connsiteY1" fmla="*/ 1814537 h 4567262"/>
              <a:gd name="connsiteX2" fmla="*/ 4467529 w 4467986"/>
              <a:gd name="connsiteY2" fmla="*/ 2757512 h 4567262"/>
              <a:gd name="connsiteX3" fmla="*/ 2685 w 4467986"/>
              <a:gd name="connsiteY3" fmla="*/ 4567262 h 4567262"/>
              <a:gd name="connsiteX4" fmla="*/ 2684 w 4467986"/>
              <a:gd name="connsiteY4" fmla="*/ 3548087 h 4567262"/>
              <a:gd name="connsiteX5" fmla="*/ 3266585 w 4467986"/>
              <a:gd name="connsiteY5" fmla="*/ 2290788 h 4567262"/>
              <a:gd name="connsiteX6" fmla="*/ 2533 w 4467986"/>
              <a:gd name="connsiteY6" fmla="*/ 1025551 h 4567262"/>
              <a:gd name="connsiteX7" fmla="*/ 0 w 4467986"/>
              <a:gd name="connsiteY7" fmla="*/ 0 h 4567262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50493 h 4569668"/>
              <a:gd name="connsiteX5" fmla="*/ 3264555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48111 h 4569668"/>
              <a:gd name="connsiteX5" fmla="*/ 3264555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48111 h 4569668"/>
              <a:gd name="connsiteX5" fmla="*/ 3257411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65956" h="4569668">
                <a:moveTo>
                  <a:pt x="377" y="0"/>
                </a:moveTo>
                <a:lnTo>
                  <a:pt x="4465497" y="1816943"/>
                </a:lnTo>
                <a:cubicBezTo>
                  <a:pt x="4463910" y="2124918"/>
                  <a:pt x="4467086" y="2451943"/>
                  <a:pt x="4465499" y="2759918"/>
                </a:cubicBezTo>
                <a:lnTo>
                  <a:pt x="655" y="4569668"/>
                </a:lnTo>
                <a:cubicBezTo>
                  <a:pt x="-139" y="4230737"/>
                  <a:pt x="1448" y="3887042"/>
                  <a:pt x="654" y="3548111"/>
                </a:cubicBezTo>
                <a:lnTo>
                  <a:pt x="3257411" y="2293194"/>
                </a:lnTo>
                <a:lnTo>
                  <a:pt x="503" y="1027957"/>
                </a:lnTo>
                <a:cubicBezTo>
                  <a:pt x="-1186" y="686909"/>
                  <a:pt x="2066" y="341048"/>
                  <a:pt x="37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19" rIns="91415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sz="2267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278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17" y="332077"/>
            <a:ext cx="11498552" cy="4238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5017" y="1769805"/>
            <a:ext cx="11498552" cy="426965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10584" indent="0">
              <a:tabLst/>
              <a:defRPr lang="en-US" dirty="0" smtClean="0"/>
            </a:lvl2pPr>
            <a:lvl3pPr marL="205312" indent="-205312">
              <a:tabLst/>
              <a:defRPr lang="en-US" b="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7" y="755904"/>
            <a:ext cx="11498552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20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832066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49168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5020" y="1803400"/>
            <a:ext cx="5465637" cy="4267200"/>
          </a:xfrm>
        </p:spPr>
        <p:txBody>
          <a:bodyPr/>
          <a:lstStyle>
            <a:lvl1pPr>
              <a:lnSpc>
                <a:spcPct val="80000"/>
              </a:lnSpc>
              <a:defRPr sz="5067" cap="all" baseline="0"/>
            </a:lvl1pPr>
          </a:lstStyle>
          <a:p>
            <a:r>
              <a:rPr lang="en-US" dirty="0"/>
              <a:t>SECTION INTRO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48409" y="1772304"/>
            <a:ext cx="5565529" cy="430611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3"/>
          <p:cNvSpPr txBox="1">
            <a:spLocks/>
          </p:cNvSpPr>
          <p:nvPr userDrawn="1"/>
        </p:nvSpPr>
        <p:spPr>
          <a:xfrm>
            <a:off x="280061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31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微软雅黑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953923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1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>
                <a:latin typeface="微软雅黑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5026" y="1769805"/>
            <a:ext cx="11491383" cy="426965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10584" indent="0">
              <a:tabLst/>
              <a:defRPr lang="en-US" dirty="0" smtClean="0"/>
            </a:lvl2pPr>
            <a:lvl3pPr marL="205286" indent="-205286">
              <a:tabLst/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3"/>
          <p:cNvSpPr txBox="1">
            <a:spLocks/>
          </p:cNvSpPr>
          <p:nvPr userDrawn="1"/>
        </p:nvSpPr>
        <p:spPr>
          <a:xfrm>
            <a:off x="280061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31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微软雅黑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256058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17" y="332079"/>
            <a:ext cx="11498552" cy="4238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5017" y="1769805"/>
            <a:ext cx="11498552" cy="426965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10584" indent="0">
              <a:tabLst/>
              <a:defRPr lang="en-US" dirty="0" smtClean="0"/>
            </a:lvl2pPr>
            <a:lvl3pPr marL="205286" indent="-205286">
              <a:tabLst/>
              <a:defRPr lang="en-US" b="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7" y="755904"/>
            <a:ext cx="11498552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20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280061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31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微软雅黑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982402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26" y="332079"/>
            <a:ext cx="11491383" cy="4238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291072" y="1766029"/>
            <a:ext cx="5553045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133" b="1" dirty="0" smtClean="0"/>
            </a:lvl1pPr>
            <a:lvl2pPr>
              <a:defRPr lang="en-US" sz="2133" b="0" dirty="0" smtClean="0"/>
            </a:lvl2pPr>
            <a:lvl3pPr>
              <a:defRPr lang="en-US" sz="2133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45020" y="1766029"/>
            <a:ext cx="5543717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133" b="1" dirty="0" smtClean="0"/>
            </a:lvl1pPr>
            <a:lvl2pPr>
              <a:defRPr lang="en-US" sz="2133" b="0" dirty="0" smtClean="0"/>
            </a:lvl2pPr>
            <a:lvl3pPr>
              <a:defRPr lang="en-US" sz="2133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45026" y="755904"/>
            <a:ext cx="11491383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20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280061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31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微软雅黑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222917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26" y="332079"/>
            <a:ext cx="11491383" cy="4238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8308437" y="1766029"/>
            <a:ext cx="353568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326728" y="1766029"/>
            <a:ext cx="353568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45019" y="1766029"/>
            <a:ext cx="353568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45026" y="755904"/>
            <a:ext cx="11491383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20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280061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31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微软雅黑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76668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26" y="332079"/>
            <a:ext cx="11491383" cy="42382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312809" y="1766029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5016" y="1766029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9210653" y="1766029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6261099" y="1766029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45026" y="755904"/>
            <a:ext cx="11491383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20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Footer Placeholder 3"/>
          <p:cNvSpPr txBox="1">
            <a:spLocks/>
          </p:cNvSpPr>
          <p:nvPr userDrawn="1"/>
        </p:nvSpPr>
        <p:spPr>
          <a:xfrm>
            <a:off x="280061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31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微软雅黑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758228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3308579" y="1803400"/>
            <a:ext cx="8519356" cy="4275016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5017" y="1766029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280061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31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微软雅黑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54252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 txBox="1">
            <a:spLocks/>
          </p:cNvSpPr>
          <p:nvPr userDrawn="1"/>
        </p:nvSpPr>
        <p:spPr>
          <a:xfrm>
            <a:off x="280061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31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微软雅黑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182979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0098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18" y="332077"/>
            <a:ext cx="11491383" cy="4238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291072" y="1766027"/>
            <a:ext cx="5553045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133" b="1" dirty="0" smtClean="0"/>
            </a:lvl1pPr>
            <a:lvl2pPr>
              <a:defRPr lang="en-US" sz="2133" b="0" dirty="0" smtClean="0"/>
            </a:lvl2pPr>
            <a:lvl3pPr>
              <a:defRPr lang="en-US" sz="2133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45019" y="1766027"/>
            <a:ext cx="5543717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133" b="1" dirty="0" smtClean="0"/>
            </a:lvl1pPr>
            <a:lvl2pPr>
              <a:defRPr lang="en-US" sz="2133" b="0" dirty="0" smtClean="0"/>
            </a:lvl2pPr>
            <a:lvl3pPr>
              <a:defRPr lang="en-US" sz="2133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45018" y="755904"/>
            <a:ext cx="11491383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20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64555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4" name="Footer Placeholder 3"/>
          <p:cNvSpPr txBox="1">
            <a:spLocks/>
          </p:cNvSpPr>
          <p:nvPr userDrawn="1"/>
        </p:nvSpPr>
        <p:spPr>
          <a:xfrm>
            <a:off x="280061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31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微软雅黑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852815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Light">
    <p:bg>
      <p:bgPr>
        <a:gradFill>
          <a:gsLst>
            <a:gs pos="0">
              <a:schemeClr val="accent3"/>
            </a:gs>
            <a:gs pos="100000">
              <a:schemeClr val="accent6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" y="495311"/>
            <a:ext cx="10600621" cy="6172199"/>
          </a:xfrm>
        </p:spPr>
        <p:txBody>
          <a:bodyPr>
            <a:noAutofit/>
          </a:bodyPr>
          <a:lstStyle>
            <a:lvl1pPr marL="0" indent="0">
              <a:lnSpc>
                <a:spcPct val="65000"/>
              </a:lnSpc>
              <a:defRPr sz="12000" b="0" spc="-200" baseline="0">
                <a:latin typeface="Arial Black" panose="020B0A04020102020204" pitchFamily="34" charset="0"/>
              </a:defRPr>
            </a:lvl1pPr>
            <a:lvl2pPr marL="55552" indent="0">
              <a:lnSpc>
                <a:spcPct val="65000"/>
              </a:lnSpc>
              <a:spcAft>
                <a:spcPts val="0"/>
              </a:spcAft>
              <a:defRPr sz="6000" b="0" cap="all" spc="-151" baseline="0">
                <a:latin typeface="Arial Black" panose="020B0A04020102020204" pitchFamily="34" charset="0"/>
              </a:defRPr>
            </a:lvl2pPr>
            <a:lvl3pPr marL="55552" indent="0">
              <a:lnSpc>
                <a:spcPct val="70000"/>
              </a:lnSpc>
              <a:spcAft>
                <a:spcPts val="0"/>
              </a:spcAft>
              <a:defRPr sz="4000" b="0" cap="all" baseline="0">
                <a:latin typeface="Arial Black" panose="020B0A04020102020204" pitchFamily="34" charset="0"/>
              </a:defRPr>
            </a:lvl3pPr>
            <a:lvl4pPr marL="55552" indent="0">
              <a:lnSpc>
                <a:spcPct val="80000"/>
              </a:lnSpc>
              <a:buNone/>
              <a:defRPr sz="3067" b="0" cap="all" baseline="0">
                <a:latin typeface="Arial Black" panose="020B0A04020102020204" pitchFamily="34" charset="0"/>
              </a:defRPr>
            </a:lvl4pPr>
            <a:lvl5pPr marL="55552" indent="0">
              <a:lnSpc>
                <a:spcPct val="80000"/>
              </a:lnSpc>
              <a:buNone/>
              <a:defRPr sz="2000" b="0" cap="all" baseline="0"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62780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gradFill>
          <a:gsLst>
            <a:gs pos="0">
              <a:schemeClr val="accent3"/>
            </a:gs>
            <a:gs pos="100000">
              <a:schemeClr val="accent6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 bwMode="grayWhite">
          <a:xfrm>
            <a:off x="1" y="512630"/>
            <a:ext cx="11938000" cy="8229599"/>
          </a:xfrm>
        </p:spPr>
        <p:txBody>
          <a:bodyPr/>
          <a:lstStyle>
            <a:lvl1pPr>
              <a:lnSpc>
                <a:spcPts val="10666"/>
              </a:lnSpc>
              <a:defRPr sz="12800" b="1" i="0" spc="-400"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en-US" dirty="0"/>
              <a:t>DIVIDER </a:t>
            </a:r>
            <a:r>
              <a:rPr lang="en-US" dirty="0">
                <a:solidFill>
                  <a:schemeClr val="bg1"/>
                </a:solidFill>
              </a:rPr>
              <a:t>OVER GRADIENT</a:t>
            </a:r>
          </a:p>
        </p:txBody>
      </p:sp>
    </p:spTree>
    <p:extLst>
      <p:ext uri="{BB962C8B-B14F-4D97-AF65-F5344CB8AC3E}">
        <p14:creationId xmlns:p14="http://schemas.microsoft.com/office/powerpoint/2010/main" val="2143388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34760"/>
          <a:stretch/>
        </p:blipFill>
        <p:spPr>
          <a:xfrm>
            <a:off x="-168618" y="9"/>
            <a:ext cx="12012188" cy="6857143"/>
          </a:xfrm>
          <a:prstGeom prst="rect">
            <a:avLst/>
          </a:prstGeom>
        </p:spPr>
      </p:pic>
      <p:sp>
        <p:nvSpPr>
          <p:cNvPr id="5" name="Footer Placeholder 3"/>
          <p:cNvSpPr txBox="1">
            <a:spLocks/>
          </p:cNvSpPr>
          <p:nvPr userDrawn="1"/>
        </p:nvSpPr>
        <p:spPr>
          <a:xfrm>
            <a:off x="280061" y="6371073"/>
            <a:ext cx="7216425" cy="171451"/>
          </a:xfrm>
          <a:prstGeom prst="rect">
            <a:avLst/>
          </a:prstGeom>
          <a:noFill/>
        </p:spPr>
        <p:txBody>
          <a:bodyPr wrap="square" lIns="0" tIns="45719" rIns="91431" bIns="45719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微软雅黑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132483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072345" y="3895"/>
            <a:ext cx="6580649" cy="683375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22803" y="5855460"/>
            <a:ext cx="3334575" cy="569773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22804" y="1570760"/>
            <a:ext cx="3792745" cy="684709"/>
          </a:xfrm>
        </p:spPr>
        <p:txBody>
          <a:bodyPr/>
          <a:lstStyle>
            <a:lvl1pPr>
              <a:lnSpc>
                <a:spcPts val="1547"/>
              </a:lnSpc>
              <a:defRPr sz="2400" spc="-40" baseline="0">
                <a:latin typeface="+mj-lt"/>
              </a:defRPr>
            </a:lvl1pPr>
          </a:lstStyle>
          <a:p>
            <a:pPr lvl="0"/>
            <a:r>
              <a:rPr lang="en-US" dirty="0"/>
              <a:t>TITLE LINE</a:t>
            </a:r>
          </a:p>
          <a:p>
            <a:pPr lvl="0"/>
            <a:r>
              <a:rPr lang="en-US" dirty="0"/>
              <a:t>SECOND LIN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22804" y="2159911"/>
            <a:ext cx="3792745" cy="684709"/>
          </a:xfrm>
        </p:spPr>
        <p:txBody>
          <a:bodyPr/>
          <a:lstStyle>
            <a:lvl1pPr>
              <a:lnSpc>
                <a:spcPts val="1813"/>
              </a:lnSpc>
              <a:defRPr sz="1867" b="0" spc="-40" baseline="0">
                <a:latin typeface="微软雅黑"/>
              </a:defRPr>
            </a:lvl1pPr>
          </a:lstStyle>
          <a:p>
            <a:pPr lvl="0"/>
            <a:r>
              <a:rPr lang="en-US" dirty="0"/>
              <a:t>THIS IS A SUBTITLE LINE AND SECOND LINE OF SUBTITLE</a:t>
            </a:r>
          </a:p>
        </p:txBody>
      </p:sp>
    </p:spTree>
    <p:extLst>
      <p:ext uri="{BB962C8B-B14F-4D97-AF65-F5344CB8AC3E}">
        <p14:creationId xmlns:p14="http://schemas.microsoft.com/office/powerpoint/2010/main" val="27100204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0"/>
            <a:ext cx="12181975" cy="6858000"/>
          </a:xfrm>
          <a:prstGeom prst="rect">
            <a:avLst/>
          </a:prstGeom>
        </p:spPr>
      </p:pic>
      <p:pic>
        <p:nvPicPr>
          <p:cNvPr id="11" name="GTS_Strategy_KEYLINE" hidden="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4571" y="479659"/>
            <a:ext cx="5857156" cy="6076800"/>
          </a:xfrm>
          <a:prstGeom prst="rect">
            <a:avLst/>
          </a:prstGeom>
        </p:spPr>
      </p:pic>
      <p:pic>
        <p:nvPicPr>
          <p:cNvPr id="13" name="GTS_Strategy_GRADIENT_darkBG" hidden="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4571" y="479659"/>
            <a:ext cx="5857156" cy="6076800"/>
          </a:xfrm>
          <a:prstGeom prst="rect">
            <a:avLst/>
          </a:prstGeom>
        </p:spPr>
      </p:pic>
      <p:pic>
        <p:nvPicPr>
          <p:cNvPr id="10" name="GTS_Strategy_GRADIENT_lightBG" hidden="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4571" y="479659"/>
            <a:ext cx="5857156" cy="6076800"/>
          </a:xfrm>
          <a:prstGeom prst="rect">
            <a:avLst/>
          </a:prstGeom>
        </p:spPr>
      </p:pic>
      <p:pic>
        <p:nvPicPr>
          <p:cNvPr id="5" name="GTS_Strategy_DIMENSIONAL_lightBG" hidden="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44571" y="479659"/>
            <a:ext cx="5857156" cy="6076800"/>
          </a:xfrm>
          <a:prstGeom prst="rect">
            <a:avLst/>
          </a:prstGeom>
        </p:spPr>
      </p:pic>
      <p:pic>
        <p:nvPicPr>
          <p:cNvPr id="101" name="Acc_StrategyWHITE" hidden="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729885" y="352485"/>
            <a:ext cx="2959987" cy="534475"/>
          </a:xfrm>
          <a:prstGeom prst="rect">
            <a:avLst/>
          </a:prstGeom>
        </p:spPr>
      </p:pic>
      <p:pic>
        <p:nvPicPr>
          <p:cNvPr id="12" name="GTS_Strategy_DIMENSIONAL_darkB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065175" y="982115"/>
            <a:ext cx="4716888" cy="4893772"/>
          </a:xfrm>
          <a:prstGeom prst="rect">
            <a:avLst/>
          </a:prstGeom>
        </p:spPr>
      </p:pic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4941012" y="1754801"/>
            <a:ext cx="4296557" cy="3169903"/>
          </a:xfrm>
        </p:spPr>
        <p:txBody>
          <a:bodyPr tIns="188978" anchor="ctr"/>
          <a:lstStyle>
            <a:lvl1pPr>
              <a:lnSpc>
                <a:spcPct val="70000"/>
              </a:lnSpc>
              <a:defRPr sz="7200" spc="-15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</a:t>
            </a:r>
            <a:br>
              <a:rPr lang="en-US" dirty="0"/>
            </a:br>
            <a:r>
              <a:rPr lang="en-US" dirty="0"/>
              <a:t>to edit Master title</a:t>
            </a:r>
            <a:endParaRPr lang="en-AU" dirty="0"/>
          </a:p>
        </p:txBody>
      </p:sp>
      <p:sp>
        <p:nvSpPr>
          <p:cNvPr id="15" name="Freeform 6"/>
          <p:cNvSpPr>
            <a:spLocks noEditPoints="1"/>
          </p:cNvSpPr>
          <p:nvPr userDrawn="1"/>
        </p:nvSpPr>
        <p:spPr bwMode="auto">
          <a:xfrm>
            <a:off x="560755" y="839843"/>
            <a:ext cx="2686352" cy="513756"/>
          </a:xfrm>
          <a:custGeom>
            <a:avLst/>
            <a:gdLst>
              <a:gd name="T0" fmla="*/ 35 w 765"/>
              <a:gd name="T1" fmla="*/ 118 h 135"/>
              <a:gd name="T2" fmla="*/ 56 w 765"/>
              <a:gd name="T3" fmla="*/ 88 h 135"/>
              <a:gd name="T4" fmla="*/ 78 w 765"/>
              <a:gd name="T5" fmla="*/ 62 h 135"/>
              <a:gd name="T6" fmla="*/ 4 w 765"/>
              <a:gd name="T7" fmla="*/ 62 h 135"/>
              <a:gd name="T8" fmla="*/ 42 w 765"/>
              <a:gd name="T9" fmla="*/ 47 h 135"/>
              <a:gd name="T10" fmla="*/ 56 w 765"/>
              <a:gd name="T11" fmla="*/ 75 h 135"/>
              <a:gd name="T12" fmla="*/ 30 w 765"/>
              <a:gd name="T13" fmla="*/ 135 h 135"/>
              <a:gd name="T14" fmla="*/ 56 w 765"/>
              <a:gd name="T15" fmla="*/ 121 h 135"/>
              <a:gd name="T16" fmla="*/ 78 w 765"/>
              <a:gd name="T17" fmla="*/ 132 h 135"/>
              <a:gd name="T18" fmla="*/ 132 w 765"/>
              <a:gd name="T19" fmla="*/ 47 h 135"/>
              <a:gd name="T20" fmla="*/ 154 w 765"/>
              <a:gd name="T21" fmla="*/ 118 h 135"/>
              <a:gd name="T22" fmla="*/ 171 w 765"/>
              <a:gd name="T23" fmla="*/ 130 h 135"/>
              <a:gd name="T24" fmla="*/ 88 w 765"/>
              <a:gd name="T25" fmla="*/ 78 h 135"/>
              <a:gd name="T26" fmla="*/ 172 w 765"/>
              <a:gd name="T27" fmla="*/ 67 h 135"/>
              <a:gd name="T28" fmla="*/ 236 w 765"/>
              <a:gd name="T29" fmla="*/ 67 h 135"/>
              <a:gd name="T30" fmla="*/ 202 w 765"/>
              <a:gd name="T31" fmla="*/ 74 h 135"/>
              <a:gd name="T32" fmla="*/ 260 w 765"/>
              <a:gd name="T33" fmla="*/ 116 h 135"/>
              <a:gd name="T34" fmla="*/ 231 w 765"/>
              <a:gd name="T35" fmla="*/ 135 h 135"/>
              <a:gd name="T36" fmla="*/ 223 w 765"/>
              <a:gd name="T37" fmla="*/ 31 h 135"/>
              <a:gd name="T38" fmla="*/ 236 w 765"/>
              <a:gd name="T39" fmla="*/ 67 h 135"/>
              <a:gd name="T40" fmla="*/ 291 w 765"/>
              <a:gd name="T41" fmla="*/ 63 h 135"/>
              <a:gd name="T42" fmla="*/ 327 w 765"/>
              <a:gd name="T43" fmla="*/ 63 h 135"/>
              <a:gd name="T44" fmla="*/ 349 w 765"/>
              <a:gd name="T45" fmla="*/ 71 h 135"/>
              <a:gd name="T46" fmla="*/ 269 w 765"/>
              <a:gd name="T47" fmla="*/ 77 h 135"/>
              <a:gd name="T48" fmla="*/ 347 w 765"/>
              <a:gd name="T49" fmla="*/ 131 h 135"/>
              <a:gd name="T50" fmla="*/ 328 w 765"/>
              <a:gd name="T51" fmla="*/ 118 h 135"/>
              <a:gd name="T52" fmla="*/ 349 w 765"/>
              <a:gd name="T53" fmla="*/ 77 h 135"/>
              <a:gd name="T54" fmla="*/ 418 w 765"/>
              <a:gd name="T55" fmla="*/ 76 h 135"/>
              <a:gd name="T56" fmla="*/ 408 w 765"/>
              <a:gd name="T57" fmla="*/ 52 h 135"/>
              <a:gd name="T58" fmla="*/ 384 w 765"/>
              <a:gd name="T59" fmla="*/ 132 h 135"/>
              <a:gd name="T60" fmla="*/ 361 w 765"/>
              <a:gd name="T61" fmla="*/ 33 h 135"/>
              <a:gd name="T62" fmla="*/ 384 w 765"/>
              <a:gd name="T63" fmla="*/ 51 h 135"/>
              <a:gd name="T64" fmla="*/ 414 w 765"/>
              <a:gd name="T65" fmla="*/ 31 h 135"/>
              <a:gd name="T66" fmla="*/ 441 w 765"/>
              <a:gd name="T67" fmla="*/ 132 h 135"/>
              <a:gd name="T68" fmla="*/ 489 w 765"/>
              <a:gd name="T69" fmla="*/ 49 h 135"/>
              <a:gd name="T70" fmla="*/ 505 w 765"/>
              <a:gd name="T71" fmla="*/ 118 h 135"/>
              <a:gd name="T72" fmla="*/ 516 w 765"/>
              <a:gd name="T73" fmla="*/ 133 h 135"/>
              <a:gd name="T74" fmla="*/ 466 w 765"/>
              <a:gd name="T75" fmla="*/ 107 h 135"/>
              <a:gd name="T76" fmla="*/ 447 w 765"/>
              <a:gd name="T77" fmla="*/ 49 h 135"/>
              <a:gd name="T78" fmla="*/ 466 w 765"/>
              <a:gd name="T79" fmla="*/ 33 h 135"/>
              <a:gd name="T80" fmla="*/ 489 w 765"/>
              <a:gd name="T81" fmla="*/ 0 h 135"/>
              <a:gd name="T82" fmla="*/ 519 w 765"/>
              <a:gd name="T83" fmla="*/ 33 h 135"/>
              <a:gd name="T84" fmla="*/ 489 w 765"/>
              <a:gd name="T85" fmla="*/ 49 h 135"/>
              <a:gd name="T86" fmla="*/ 586 w 765"/>
              <a:gd name="T87" fmla="*/ 114 h 135"/>
              <a:gd name="T88" fmla="*/ 556 w 765"/>
              <a:gd name="T89" fmla="*/ 135 h 135"/>
              <a:gd name="T90" fmla="*/ 529 w 765"/>
              <a:gd name="T91" fmla="*/ 33 h 135"/>
              <a:gd name="T92" fmla="*/ 552 w 765"/>
              <a:gd name="T93" fmla="*/ 90 h 135"/>
              <a:gd name="T94" fmla="*/ 563 w 765"/>
              <a:gd name="T95" fmla="*/ 113 h 135"/>
              <a:gd name="T96" fmla="*/ 586 w 765"/>
              <a:gd name="T97" fmla="*/ 33 h 135"/>
              <a:gd name="T98" fmla="*/ 609 w 765"/>
              <a:gd name="T99" fmla="*/ 132 h 135"/>
              <a:gd name="T100" fmla="*/ 647 w 765"/>
              <a:gd name="T101" fmla="*/ 89 h 135"/>
              <a:gd name="T102" fmla="*/ 624 w 765"/>
              <a:gd name="T103" fmla="*/ 132 h 135"/>
              <a:gd name="T104" fmla="*/ 647 w 765"/>
              <a:gd name="T105" fmla="*/ 33 h 135"/>
              <a:gd name="T106" fmla="*/ 648 w 765"/>
              <a:gd name="T107" fmla="*/ 51 h 135"/>
              <a:gd name="T108" fmla="*/ 680 w 765"/>
              <a:gd name="T109" fmla="*/ 55 h 135"/>
              <a:gd name="T110" fmla="*/ 743 w 765"/>
              <a:gd name="T111" fmla="*/ 63 h 135"/>
              <a:gd name="T112" fmla="*/ 726 w 765"/>
              <a:gd name="T113" fmla="*/ 45 h 135"/>
              <a:gd name="T114" fmla="*/ 765 w 765"/>
              <a:gd name="T115" fmla="*/ 77 h 135"/>
              <a:gd name="T116" fmla="*/ 727 w 765"/>
              <a:gd name="T117" fmla="*/ 31 h 135"/>
              <a:gd name="T118" fmla="*/ 735 w 765"/>
              <a:gd name="T119" fmla="*/ 135 h 135"/>
              <a:gd name="T120" fmla="*/ 763 w 765"/>
              <a:gd name="T121" fmla="*/ 115 h 135"/>
              <a:gd name="T122" fmla="*/ 706 w 765"/>
              <a:gd name="T123" fmla="*/ 77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65" h="135">
                <a:moveTo>
                  <a:pt x="56" y="88"/>
                </a:moveTo>
                <a:cubicBezTo>
                  <a:pt x="56" y="101"/>
                  <a:pt x="51" y="118"/>
                  <a:pt x="35" y="118"/>
                </a:cubicBezTo>
                <a:cubicBezTo>
                  <a:pt x="28" y="118"/>
                  <a:pt x="23" y="114"/>
                  <a:pt x="23" y="106"/>
                </a:cubicBezTo>
                <a:cubicBezTo>
                  <a:pt x="23" y="91"/>
                  <a:pt x="45" y="88"/>
                  <a:pt x="56" y="88"/>
                </a:cubicBezTo>
                <a:close/>
                <a:moveTo>
                  <a:pt x="78" y="132"/>
                </a:moveTo>
                <a:cubicBezTo>
                  <a:pt x="78" y="62"/>
                  <a:pt x="78" y="62"/>
                  <a:pt x="78" y="62"/>
                </a:cubicBezTo>
                <a:cubicBezTo>
                  <a:pt x="78" y="38"/>
                  <a:pt x="63" y="31"/>
                  <a:pt x="42" y="31"/>
                </a:cubicBezTo>
                <a:cubicBezTo>
                  <a:pt x="21" y="31"/>
                  <a:pt x="4" y="39"/>
                  <a:pt x="4" y="62"/>
                </a:cubicBezTo>
                <a:cubicBezTo>
                  <a:pt x="27" y="62"/>
                  <a:pt x="27" y="62"/>
                  <a:pt x="27" y="62"/>
                </a:cubicBezTo>
                <a:cubicBezTo>
                  <a:pt x="27" y="52"/>
                  <a:pt x="32" y="47"/>
                  <a:pt x="42" y="47"/>
                </a:cubicBezTo>
                <a:cubicBezTo>
                  <a:pt x="53" y="47"/>
                  <a:pt x="56" y="55"/>
                  <a:pt x="56" y="65"/>
                </a:cubicBezTo>
                <a:cubicBezTo>
                  <a:pt x="56" y="75"/>
                  <a:pt x="56" y="75"/>
                  <a:pt x="56" y="75"/>
                </a:cubicBezTo>
                <a:cubicBezTo>
                  <a:pt x="33" y="76"/>
                  <a:pt x="0" y="79"/>
                  <a:pt x="0" y="109"/>
                </a:cubicBezTo>
                <a:cubicBezTo>
                  <a:pt x="0" y="125"/>
                  <a:pt x="14" y="135"/>
                  <a:pt x="30" y="135"/>
                </a:cubicBezTo>
                <a:cubicBezTo>
                  <a:pt x="41" y="135"/>
                  <a:pt x="51" y="131"/>
                  <a:pt x="56" y="121"/>
                </a:cubicBezTo>
                <a:cubicBezTo>
                  <a:pt x="56" y="121"/>
                  <a:pt x="56" y="121"/>
                  <a:pt x="56" y="121"/>
                </a:cubicBezTo>
                <a:cubicBezTo>
                  <a:pt x="56" y="132"/>
                  <a:pt x="56" y="132"/>
                  <a:pt x="56" y="132"/>
                </a:cubicBezTo>
                <a:lnTo>
                  <a:pt x="78" y="132"/>
                </a:lnTo>
                <a:close/>
                <a:moveTo>
                  <a:pt x="147" y="67"/>
                </a:moveTo>
                <a:cubicBezTo>
                  <a:pt x="147" y="57"/>
                  <a:pt x="144" y="47"/>
                  <a:pt x="132" y="47"/>
                </a:cubicBezTo>
                <a:cubicBezTo>
                  <a:pt x="117" y="47"/>
                  <a:pt x="113" y="62"/>
                  <a:pt x="113" y="74"/>
                </a:cubicBezTo>
                <a:cubicBezTo>
                  <a:pt x="113" y="99"/>
                  <a:pt x="128" y="118"/>
                  <a:pt x="154" y="118"/>
                </a:cubicBezTo>
                <a:cubicBezTo>
                  <a:pt x="160" y="118"/>
                  <a:pt x="165" y="118"/>
                  <a:pt x="171" y="116"/>
                </a:cubicBezTo>
                <a:cubicBezTo>
                  <a:pt x="171" y="130"/>
                  <a:pt x="171" y="130"/>
                  <a:pt x="171" y="130"/>
                </a:cubicBezTo>
                <a:cubicBezTo>
                  <a:pt x="161" y="133"/>
                  <a:pt x="151" y="135"/>
                  <a:pt x="142" y="135"/>
                </a:cubicBezTo>
                <a:cubicBezTo>
                  <a:pt x="106" y="135"/>
                  <a:pt x="88" y="113"/>
                  <a:pt x="88" y="78"/>
                </a:cubicBezTo>
                <a:cubicBezTo>
                  <a:pt x="88" y="49"/>
                  <a:pt x="104" y="31"/>
                  <a:pt x="134" y="31"/>
                </a:cubicBezTo>
                <a:cubicBezTo>
                  <a:pt x="158" y="31"/>
                  <a:pt x="172" y="42"/>
                  <a:pt x="172" y="67"/>
                </a:cubicBezTo>
                <a:lnTo>
                  <a:pt x="147" y="67"/>
                </a:lnTo>
                <a:close/>
                <a:moveTo>
                  <a:pt x="236" y="67"/>
                </a:moveTo>
                <a:cubicBezTo>
                  <a:pt x="236" y="57"/>
                  <a:pt x="233" y="47"/>
                  <a:pt x="221" y="47"/>
                </a:cubicBezTo>
                <a:cubicBezTo>
                  <a:pt x="206" y="47"/>
                  <a:pt x="202" y="62"/>
                  <a:pt x="202" y="74"/>
                </a:cubicBezTo>
                <a:cubicBezTo>
                  <a:pt x="202" y="99"/>
                  <a:pt x="217" y="118"/>
                  <a:pt x="243" y="118"/>
                </a:cubicBezTo>
                <a:cubicBezTo>
                  <a:pt x="249" y="118"/>
                  <a:pt x="254" y="118"/>
                  <a:pt x="260" y="116"/>
                </a:cubicBezTo>
                <a:cubicBezTo>
                  <a:pt x="260" y="130"/>
                  <a:pt x="260" y="130"/>
                  <a:pt x="260" y="130"/>
                </a:cubicBezTo>
                <a:cubicBezTo>
                  <a:pt x="250" y="133"/>
                  <a:pt x="241" y="135"/>
                  <a:pt x="231" y="135"/>
                </a:cubicBezTo>
                <a:cubicBezTo>
                  <a:pt x="195" y="135"/>
                  <a:pt x="177" y="113"/>
                  <a:pt x="177" y="78"/>
                </a:cubicBezTo>
                <a:cubicBezTo>
                  <a:pt x="177" y="49"/>
                  <a:pt x="193" y="31"/>
                  <a:pt x="223" y="31"/>
                </a:cubicBezTo>
                <a:cubicBezTo>
                  <a:pt x="247" y="31"/>
                  <a:pt x="261" y="42"/>
                  <a:pt x="261" y="67"/>
                </a:cubicBezTo>
                <a:lnTo>
                  <a:pt x="236" y="67"/>
                </a:lnTo>
                <a:close/>
                <a:moveTo>
                  <a:pt x="327" y="63"/>
                </a:moveTo>
                <a:cubicBezTo>
                  <a:pt x="291" y="63"/>
                  <a:pt x="291" y="63"/>
                  <a:pt x="291" y="63"/>
                </a:cubicBezTo>
                <a:cubicBezTo>
                  <a:pt x="292" y="53"/>
                  <a:pt x="300" y="45"/>
                  <a:pt x="310" y="45"/>
                </a:cubicBezTo>
                <a:cubicBezTo>
                  <a:pt x="320" y="45"/>
                  <a:pt x="327" y="52"/>
                  <a:pt x="327" y="63"/>
                </a:cubicBezTo>
                <a:close/>
                <a:moveTo>
                  <a:pt x="349" y="77"/>
                </a:moveTo>
                <a:cubicBezTo>
                  <a:pt x="349" y="71"/>
                  <a:pt x="349" y="71"/>
                  <a:pt x="349" y="71"/>
                </a:cubicBezTo>
                <a:cubicBezTo>
                  <a:pt x="349" y="47"/>
                  <a:pt x="337" y="31"/>
                  <a:pt x="311" y="31"/>
                </a:cubicBezTo>
                <a:cubicBezTo>
                  <a:pt x="282" y="31"/>
                  <a:pt x="269" y="49"/>
                  <a:pt x="269" y="77"/>
                </a:cubicBezTo>
                <a:cubicBezTo>
                  <a:pt x="269" y="110"/>
                  <a:pt x="283" y="135"/>
                  <a:pt x="319" y="135"/>
                </a:cubicBezTo>
                <a:cubicBezTo>
                  <a:pt x="328" y="135"/>
                  <a:pt x="338" y="134"/>
                  <a:pt x="347" y="131"/>
                </a:cubicBezTo>
                <a:cubicBezTo>
                  <a:pt x="347" y="115"/>
                  <a:pt x="347" y="115"/>
                  <a:pt x="347" y="115"/>
                </a:cubicBezTo>
                <a:cubicBezTo>
                  <a:pt x="341" y="117"/>
                  <a:pt x="334" y="118"/>
                  <a:pt x="328" y="118"/>
                </a:cubicBezTo>
                <a:cubicBezTo>
                  <a:pt x="305" y="118"/>
                  <a:pt x="290" y="98"/>
                  <a:pt x="290" y="77"/>
                </a:cubicBezTo>
                <a:lnTo>
                  <a:pt x="349" y="77"/>
                </a:lnTo>
                <a:close/>
                <a:moveTo>
                  <a:pt x="418" y="132"/>
                </a:moveTo>
                <a:cubicBezTo>
                  <a:pt x="418" y="76"/>
                  <a:pt x="418" y="76"/>
                  <a:pt x="418" y="76"/>
                </a:cubicBezTo>
                <a:cubicBezTo>
                  <a:pt x="418" y="71"/>
                  <a:pt x="418" y="58"/>
                  <a:pt x="414" y="54"/>
                </a:cubicBezTo>
                <a:cubicBezTo>
                  <a:pt x="413" y="53"/>
                  <a:pt x="410" y="52"/>
                  <a:pt x="408" y="52"/>
                </a:cubicBezTo>
                <a:cubicBezTo>
                  <a:pt x="391" y="52"/>
                  <a:pt x="384" y="76"/>
                  <a:pt x="384" y="89"/>
                </a:cubicBezTo>
                <a:cubicBezTo>
                  <a:pt x="384" y="132"/>
                  <a:pt x="384" y="132"/>
                  <a:pt x="384" y="132"/>
                </a:cubicBezTo>
                <a:cubicBezTo>
                  <a:pt x="361" y="132"/>
                  <a:pt x="361" y="132"/>
                  <a:pt x="361" y="132"/>
                </a:cubicBezTo>
                <a:cubicBezTo>
                  <a:pt x="361" y="33"/>
                  <a:pt x="361" y="33"/>
                  <a:pt x="361" y="33"/>
                </a:cubicBezTo>
                <a:cubicBezTo>
                  <a:pt x="384" y="33"/>
                  <a:pt x="384" y="33"/>
                  <a:pt x="384" y="33"/>
                </a:cubicBezTo>
                <a:cubicBezTo>
                  <a:pt x="384" y="51"/>
                  <a:pt x="384" y="51"/>
                  <a:pt x="384" y="51"/>
                </a:cubicBezTo>
                <a:cubicBezTo>
                  <a:pt x="385" y="51"/>
                  <a:pt x="385" y="51"/>
                  <a:pt x="385" y="51"/>
                </a:cubicBezTo>
                <a:cubicBezTo>
                  <a:pt x="390" y="39"/>
                  <a:pt x="400" y="31"/>
                  <a:pt x="414" y="31"/>
                </a:cubicBezTo>
                <a:cubicBezTo>
                  <a:pt x="433" y="31"/>
                  <a:pt x="441" y="46"/>
                  <a:pt x="441" y="63"/>
                </a:cubicBezTo>
                <a:cubicBezTo>
                  <a:pt x="441" y="132"/>
                  <a:pt x="441" y="132"/>
                  <a:pt x="441" y="132"/>
                </a:cubicBezTo>
                <a:lnTo>
                  <a:pt x="418" y="132"/>
                </a:lnTo>
                <a:close/>
                <a:moveTo>
                  <a:pt x="489" y="49"/>
                </a:moveTo>
                <a:cubicBezTo>
                  <a:pt x="489" y="96"/>
                  <a:pt x="489" y="96"/>
                  <a:pt x="489" y="96"/>
                </a:cubicBezTo>
                <a:cubicBezTo>
                  <a:pt x="489" y="108"/>
                  <a:pt x="491" y="118"/>
                  <a:pt x="505" y="118"/>
                </a:cubicBezTo>
                <a:cubicBezTo>
                  <a:pt x="509" y="118"/>
                  <a:pt x="512" y="118"/>
                  <a:pt x="516" y="117"/>
                </a:cubicBezTo>
                <a:cubicBezTo>
                  <a:pt x="516" y="133"/>
                  <a:pt x="516" y="133"/>
                  <a:pt x="516" y="133"/>
                </a:cubicBezTo>
                <a:cubicBezTo>
                  <a:pt x="510" y="134"/>
                  <a:pt x="503" y="135"/>
                  <a:pt x="497" y="135"/>
                </a:cubicBezTo>
                <a:cubicBezTo>
                  <a:pt x="477" y="135"/>
                  <a:pt x="466" y="128"/>
                  <a:pt x="466" y="107"/>
                </a:cubicBezTo>
                <a:cubicBezTo>
                  <a:pt x="466" y="49"/>
                  <a:pt x="466" y="49"/>
                  <a:pt x="466" y="49"/>
                </a:cubicBezTo>
                <a:cubicBezTo>
                  <a:pt x="447" y="49"/>
                  <a:pt x="447" y="49"/>
                  <a:pt x="447" y="49"/>
                </a:cubicBezTo>
                <a:cubicBezTo>
                  <a:pt x="447" y="33"/>
                  <a:pt x="447" y="33"/>
                  <a:pt x="447" y="33"/>
                </a:cubicBezTo>
                <a:cubicBezTo>
                  <a:pt x="466" y="33"/>
                  <a:pt x="466" y="33"/>
                  <a:pt x="466" y="33"/>
                </a:cubicBezTo>
                <a:cubicBezTo>
                  <a:pt x="466" y="9"/>
                  <a:pt x="466" y="9"/>
                  <a:pt x="466" y="9"/>
                </a:cubicBezTo>
                <a:cubicBezTo>
                  <a:pt x="489" y="0"/>
                  <a:pt x="489" y="0"/>
                  <a:pt x="489" y="0"/>
                </a:cubicBezTo>
                <a:cubicBezTo>
                  <a:pt x="489" y="33"/>
                  <a:pt x="489" y="33"/>
                  <a:pt x="489" y="33"/>
                </a:cubicBezTo>
                <a:cubicBezTo>
                  <a:pt x="519" y="33"/>
                  <a:pt x="519" y="33"/>
                  <a:pt x="519" y="33"/>
                </a:cubicBezTo>
                <a:cubicBezTo>
                  <a:pt x="519" y="49"/>
                  <a:pt x="519" y="49"/>
                  <a:pt x="519" y="49"/>
                </a:cubicBezTo>
                <a:lnTo>
                  <a:pt x="489" y="49"/>
                </a:lnTo>
                <a:close/>
                <a:moveTo>
                  <a:pt x="586" y="132"/>
                </a:moveTo>
                <a:cubicBezTo>
                  <a:pt x="586" y="114"/>
                  <a:pt x="586" y="114"/>
                  <a:pt x="586" y="114"/>
                </a:cubicBezTo>
                <a:cubicBezTo>
                  <a:pt x="586" y="114"/>
                  <a:pt x="586" y="114"/>
                  <a:pt x="586" y="114"/>
                </a:cubicBezTo>
                <a:cubicBezTo>
                  <a:pt x="580" y="126"/>
                  <a:pt x="570" y="135"/>
                  <a:pt x="556" y="135"/>
                </a:cubicBezTo>
                <a:cubicBezTo>
                  <a:pt x="537" y="135"/>
                  <a:pt x="529" y="119"/>
                  <a:pt x="529" y="102"/>
                </a:cubicBezTo>
                <a:cubicBezTo>
                  <a:pt x="529" y="33"/>
                  <a:pt x="529" y="33"/>
                  <a:pt x="529" y="33"/>
                </a:cubicBezTo>
                <a:cubicBezTo>
                  <a:pt x="552" y="33"/>
                  <a:pt x="552" y="33"/>
                  <a:pt x="552" y="33"/>
                </a:cubicBezTo>
                <a:cubicBezTo>
                  <a:pt x="552" y="90"/>
                  <a:pt x="552" y="90"/>
                  <a:pt x="552" y="90"/>
                </a:cubicBezTo>
                <a:cubicBezTo>
                  <a:pt x="552" y="95"/>
                  <a:pt x="552" y="107"/>
                  <a:pt x="556" y="111"/>
                </a:cubicBezTo>
                <a:cubicBezTo>
                  <a:pt x="558" y="113"/>
                  <a:pt x="560" y="113"/>
                  <a:pt x="563" y="113"/>
                </a:cubicBezTo>
                <a:cubicBezTo>
                  <a:pt x="579" y="113"/>
                  <a:pt x="586" y="89"/>
                  <a:pt x="586" y="76"/>
                </a:cubicBezTo>
                <a:cubicBezTo>
                  <a:pt x="586" y="33"/>
                  <a:pt x="586" y="33"/>
                  <a:pt x="586" y="33"/>
                </a:cubicBezTo>
                <a:cubicBezTo>
                  <a:pt x="609" y="33"/>
                  <a:pt x="609" y="33"/>
                  <a:pt x="609" y="33"/>
                </a:cubicBezTo>
                <a:cubicBezTo>
                  <a:pt x="609" y="132"/>
                  <a:pt x="609" y="132"/>
                  <a:pt x="609" y="132"/>
                </a:cubicBezTo>
                <a:lnTo>
                  <a:pt x="586" y="132"/>
                </a:lnTo>
                <a:close/>
                <a:moveTo>
                  <a:pt x="647" y="89"/>
                </a:moveTo>
                <a:cubicBezTo>
                  <a:pt x="647" y="132"/>
                  <a:pt x="647" y="132"/>
                  <a:pt x="647" y="132"/>
                </a:cubicBezTo>
                <a:cubicBezTo>
                  <a:pt x="624" y="132"/>
                  <a:pt x="624" y="132"/>
                  <a:pt x="624" y="132"/>
                </a:cubicBezTo>
                <a:cubicBezTo>
                  <a:pt x="624" y="33"/>
                  <a:pt x="624" y="33"/>
                  <a:pt x="624" y="33"/>
                </a:cubicBezTo>
                <a:cubicBezTo>
                  <a:pt x="647" y="33"/>
                  <a:pt x="647" y="33"/>
                  <a:pt x="647" y="33"/>
                </a:cubicBezTo>
                <a:cubicBezTo>
                  <a:pt x="647" y="51"/>
                  <a:pt x="647" y="51"/>
                  <a:pt x="647" y="51"/>
                </a:cubicBezTo>
                <a:cubicBezTo>
                  <a:pt x="648" y="51"/>
                  <a:pt x="648" y="51"/>
                  <a:pt x="648" y="51"/>
                </a:cubicBezTo>
                <a:cubicBezTo>
                  <a:pt x="655" y="37"/>
                  <a:pt x="663" y="31"/>
                  <a:pt x="680" y="31"/>
                </a:cubicBezTo>
                <a:cubicBezTo>
                  <a:pt x="680" y="55"/>
                  <a:pt x="680" y="55"/>
                  <a:pt x="680" y="55"/>
                </a:cubicBezTo>
                <a:cubicBezTo>
                  <a:pt x="656" y="55"/>
                  <a:pt x="647" y="65"/>
                  <a:pt x="647" y="89"/>
                </a:cubicBezTo>
                <a:close/>
                <a:moveTo>
                  <a:pt x="743" y="63"/>
                </a:moveTo>
                <a:cubicBezTo>
                  <a:pt x="707" y="63"/>
                  <a:pt x="707" y="63"/>
                  <a:pt x="707" y="63"/>
                </a:cubicBezTo>
                <a:cubicBezTo>
                  <a:pt x="708" y="53"/>
                  <a:pt x="715" y="45"/>
                  <a:pt x="726" y="45"/>
                </a:cubicBezTo>
                <a:cubicBezTo>
                  <a:pt x="736" y="45"/>
                  <a:pt x="743" y="52"/>
                  <a:pt x="743" y="63"/>
                </a:cubicBezTo>
                <a:close/>
                <a:moveTo>
                  <a:pt x="765" y="77"/>
                </a:moveTo>
                <a:cubicBezTo>
                  <a:pt x="765" y="71"/>
                  <a:pt x="765" y="71"/>
                  <a:pt x="765" y="71"/>
                </a:cubicBezTo>
                <a:cubicBezTo>
                  <a:pt x="765" y="47"/>
                  <a:pt x="753" y="31"/>
                  <a:pt x="727" y="31"/>
                </a:cubicBezTo>
                <a:cubicBezTo>
                  <a:pt x="698" y="31"/>
                  <a:pt x="685" y="49"/>
                  <a:pt x="685" y="77"/>
                </a:cubicBezTo>
                <a:cubicBezTo>
                  <a:pt x="685" y="110"/>
                  <a:pt x="699" y="135"/>
                  <a:pt x="735" y="135"/>
                </a:cubicBezTo>
                <a:cubicBezTo>
                  <a:pt x="744" y="135"/>
                  <a:pt x="754" y="134"/>
                  <a:pt x="763" y="131"/>
                </a:cubicBezTo>
                <a:cubicBezTo>
                  <a:pt x="763" y="115"/>
                  <a:pt x="763" y="115"/>
                  <a:pt x="763" y="115"/>
                </a:cubicBezTo>
                <a:cubicBezTo>
                  <a:pt x="757" y="117"/>
                  <a:pt x="750" y="118"/>
                  <a:pt x="744" y="118"/>
                </a:cubicBezTo>
                <a:cubicBezTo>
                  <a:pt x="721" y="118"/>
                  <a:pt x="706" y="98"/>
                  <a:pt x="706" y="77"/>
                </a:cubicBezTo>
                <a:lnTo>
                  <a:pt x="765" y="7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07" tIns="60953" rIns="121907" bIns="60953" numCol="1" anchor="t" anchorCtr="0" compatLnSpc="1">
            <a:prstTxWarp prst="textNoShape">
              <a:avLst/>
            </a:prstTxWarp>
          </a:bodyPr>
          <a:lstStyle/>
          <a:p>
            <a:pPr defTabSz="914264" fontAlgn="base">
              <a:spcBef>
                <a:spcPct val="0"/>
              </a:spcBef>
              <a:spcAft>
                <a:spcPct val="0"/>
              </a:spcAft>
            </a:pPr>
            <a:endParaRPr lang="en-AU" sz="2400" dirty="0">
              <a:solidFill>
                <a:prstClr val="black"/>
              </a:solidFill>
              <a:latin typeface="微软雅黑"/>
              <a:cs typeface="微软雅黑"/>
            </a:endParaRPr>
          </a:p>
        </p:txBody>
      </p:sp>
      <p:sp>
        <p:nvSpPr>
          <p:cNvPr id="18" name="Freeform 18"/>
          <p:cNvSpPr/>
          <p:nvPr userDrawn="1"/>
        </p:nvSpPr>
        <p:spPr>
          <a:xfrm>
            <a:off x="2139961" y="527349"/>
            <a:ext cx="258609" cy="286843"/>
          </a:xfrm>
          <a:custGeom>
            <a:avLst/>
            <a:gdLst>
              <a:gd name="connsiteX0" fmla="*/ 0 w 4457700"/>
              <a:gd name="connsiteY0" fmla="*/ 0 h 4552950"/>
              <a:gd name="connsiteX1" fmla="*/ 4457700 w 4457700"/>
              <a:gd name="connsiteY1" fmla="*/ 1828800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57700"/>
              <a:gd name="connsiteY0" fmla="*/ 0 h 4552950"/>
              <a:gd name="connsiteX1" fmla="*/ 4457700 w 4457700"/>
              <a:gd name="connsiteY1" fmla="*/ 1824037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57700"/>
              <a:gd name="connsiteY0" fmla="*/ 0 h 4552950"/>
              <a:gd name="connsiteX1" fmla="*/ 4457700 w 4457700"/>
              <a:gd name="connsiteY1" fmla="*/ 1816893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62462"/>
              <a:gd name="connsiteY0" fmla="*/ 0 h 4552950"/>
              <a:gd name="connsiteX1" fmla="*/ 4462462 w 4462462"/>
              <a:gd name="connsiteY1" fmla="*/ 1819275 h 4552950"/>
              <a:gd name="connsiteX2" fmla="*/ 4457700 w 4462462"/>
              <a:gd name="connsiteY2" fmla="*/ 2743200 h 4552950"/>
              <a:gd name="connsiteX3" fmla="*/ 0 w 4462462"/>
              <a:gd name="connsiteY3" fmla="*/ 4552950 h 4552950"/>
              <a:gd name="connsiteX4" fmla="*/ 0 w 4462462"/>
              <a:gd name="connsiteY4" fmla="*/ 3543300 h 4552950"/>
              <a:gd name="connsiteX5" fmla="*/ 3282950 w 4462462"/>
              <a:gd name="connsiteY5" fmla="*/ 2286000 h 4552950"/>
              <a:gd name="connsiteX6" fmla="*/ 0 w 4462462"/>
              <a:gd name="connsiteY6" fmla="*/ 1016000 h 4552950"/>
              <a:gd name="connsiteX7" fmla="*/ 0 w 4462462"/>
              <a:gd name="connsiteY7" fmla="*/ 0 h 4552950"/>
              <a:gd name="connsiteX0" fmla="*/ 0 w 4462921"/>
              <a:gd name="connsiteY0" fmla="*/ 0 h 4552950"/>
              <a:gd name="connsiteX1" fmla="*/ 4462462 w 4462921"/>
              <a:gd name="connsiteY1" fmla="*/ 1819275 h 4552950"/>
              <a:gd name="connsiteX2" fmla="*/ 4462463 w 4462921"/>
              <a:gd name="connsiteY2" fmla="*/ 2747962 h 4552950"/>
              <a:gd name="connsiteX3" fmla="*/ 0 w 4462921"/>
              <a:gd name="connsiteY3" fmla="*/ 4552950 h 4552950"/>
              <a:gd name="connsiteX4" fmla="*/ 0 w 4462921"/>
              <a:gd name="connsiteY4" fmla="*/ 3543300 h 4552950"/>
              <a:gd name="connsiteX5" fmla="*/ 3282950 w 4462921"/>
              <a:gd name="connsiteY5" fmla="*/ 2286000 h 4552950"/>
              <a:gd name="connsiteX6" fmla="*/ 0 w 4462921"/>
              <a:gd name="connsiteY6" fmla="*/ 1016000 h 4552950"/>
              <a:gd name="connsiteX7" fmla="*/ 0 w 4462921"/>
              <a:gd name="connsiteY7" fmla="*/ 0 h 4552950"/>
              <a:gd name="connsiteX0" fmla="*/ 0 w 4462921"/>
              <a:gd name="connsiteY0" fmla="*/ 0 h 4552950"/>
              <a:gd name="connsiteX1" fmla="*/ 4462462 w 4462921"/>
              <a:gd name="connsiteY1" fmla="*/ 1819275 h 4552950"/>
              <a:gd name="connsiteX2" fmla="*/ 4462463 w 4462921"/>
              <a:gd name="connsiteY2" fmla="*/ 2747962 h 4552950"/>
              <a:gd name="connsiteX3" fmla="*/ 0 w 4462921"/>
              <a:gd name="connsiteY3" fmla="*/ 4552950 h 4552950"/>
              <a:gd name="connsiteX4" fmla="*/ 0 w 4462921"/>
              <a:gd name="connsiteY4" fmla="*/ 3543300 h 4552950"/>
              <a:gd name="connsiteX5" fmla="*/ 3282950 w 4462921"/>
              <a:gd name="connsiteY5" fmla="*/ 2286000 h 4552950"/>
              <a:gd name="connsiteX6" fmla="*/ 0 w 4462921"/>
              <a:gd name="connsiteY6" fmla="*/ 1016000 h 4552950"/>
              <a:gd name="connsiteX7" fmla="*/ 0 w 4462921"/>
              <a:gd name="connsiteY7" fmla="*/ 0 h 4552950"/>
              <a:gd name="connsiteX0" fmla="*/ 0 w 4462921"/>
              <a:gd name="connsiteY0" fmla="*/ 0 h 4560094"/>
              <a:gd name="connsiteX1" fmla="*/ 4462462 w 4462921"/>
              <a:gd name="connsiteY1" fmla="*/ 1819275 h 4560094"/>
              <a:gd name="connsiteX2" fmla="*/ 4462463 w 4462921"/>
              <a:gd name="connsiteY2" fmla="*/ 2747962 h 4560094"/>
              <a:gd name="connsiteX3" fmla="*/ 2381 w 4462921"/>
              <a:gd name="connsiteY3" fmla="*/ 4560094 h 4560094"/>
              <a:gd name="connsiteX4" fmla="*/ 0 w 4462921"/>
              <a:gd name="connsiteY4" fmla="*/ 3543300 h 4560094"/>
              <a:gd name="connsiteX5" fmla="*/ 3282950 w 4462921"/>
              <a:gd name="connsiteY5" fmla="*/ 2286000 h 4560094"/>
              <a:gd name="connsiteX6" fmla="*/ 0 w 4462921"/>
              <a:gd name="connsiteY6" fmla="*/ 1016000 h 4560094"/>
              <a:gd name="connsiteX7" fmla="*/ 0 w 4462921"/>
              <a:gd name="connsiteY7" fmla="*/ 0 h 4560094"/>
              <a:gd name="connsiteX0" fmla="*/ 0 w 4462921"/>
              <a:gd name="connsiteY0" fmla="*/ 0 h 4560094"/>
              <a:gd name="connsiteX1" fmla="*/ 4462462 w 4462921"/>
              <a:gd name="connsiteY1" fmla="*/ 1819275 h 4560094"/>
              <a:gd name="connsiteX2" fmla="*/ 4462463 w 4462921"/>
              <a:gd name="connsiteY2" fmla="*/ 2747962 h 4560094"/>
              <a:gd name="connsiteX3" fmla="*/ 2381 w 4462921"/>
              <a:gd name="connsiteY3" fmla="*/ 4560094 h 4560094"/>
              <a:gd name="connsiteX4" fmla="*/ 0 w 4462921"/>
              <a:gd name="connsiteY4" fmla="*/ 3543300 h 4560094"/>
              <a:gd name="connsiteX5" fmla="*/ 3275807 w 4462921"/>
              <a:gd name="connsiteY5" fmla="*/ 2286000 h 4560094"/>
              <a:gd name="connsiteX6" fmla="*/ 0 w 4462921"/>
              <a:gd name="connsiteY6" fmla="*/ 1016000 h 4560094"/>
              <a:gd name="connsiteX7" fmla="*/ 0 w 4462921"/>
              <a:gd name="connsiteY7" fmla="*/ 0 h 4560094"/>
              <a:gd name="connsiteX0" fmla="*/ 0 w 4462921"/>
              <a:gd name="connsiteY0" fmla="*/ 0 h 4557713"/>
              <a:gd name="connsiteX1" fmla="*/ 4462462 w 4462921"/>
              <a:gd name="connsiteY1" fmla="*/ 1819275 h 4557713"/>
              <a:gd name="connsiteX2" fmla="*/ 4462463 w 4462921"/>
              <a:gd name="connsiteY2" fmla="*/ 2747962 h 4557713"/>
              <a:gd name="connsiteX3" fmla="*/ 2381 w 4462921"/>
              <a:gd name="connsiteY3" fmla="*/ 4557713 h 4557713"/>
              <a:gd name="connsiteX4" fmla="*/ 0 w 4462921"/>
              <a:gd name="connsiteY4" fmla="*/ 3543300 h 4557713"/>
              <a:gd name="connsiteX5" fmla="*/ 3275807 w 4462921"/>
              <a:gd name="connsiteY5" fmla="*/ 2286000 h 4557713"/>
              <a:gd name="connsiteX6" fmla="*/ 0 w 4462921"/>
              <a:gd name="connsiteY6" fmla="*/ 1016000 h 4557713"/>
              <a:gd name="connsiteX7" fmla="*/ 0 w 4462921"/>
              <a:gd name="connsiteY7" fmla="*/ 0 h 4557713"/>
              <a:gd name="connsiteX0" fmla="*/ 0 w 4462921"/>
              <a:gd name="connsiteY0" fmla="*/ 0 h 4562475"/>
              <a:gd name="connsiteX1" fmla="*/ 4462462 w 4462921"/>
              <a:gd name="connsiteY1" fmla="*/ 1819275 h 4562475"/>
              <a:gd name="connsiteX2" fmla="*/ 4462463 w 4462921"/>
              <a:gd name="connsiteY2" fmla="*/ 2747962 h 4562475"/>
              <a:gd name="connsiteX3" fmla="*/ 2381 w 4462921"/>
              <a:gd name="connsiteY3" fmla="*/ 4562475 h 4562475"/>
              <a:gd name="connsiteX4" fmla="*/ 0 w 4462921"/>
              <a:gd name="connsiteY4" fmla="*/ 3543300 h 4562475"/>
              <a:gd name="connsiteX5" fmla="*/ 3275807 w 4462921"/>
              <a:gd name="connsiteY5" fmla="*/ 2286000 h 4562475"/>
              <a:gd name="connsiteX6" fmla="*/ 0 w 4462921"/>
              <a:gd name="connsiteY6" fmla="*/ 1016000 h 4562475"/>
              <a:gd name="connsiteX7" fmla="*/ 0 w 4462921"/>
              <a:gd name="connsiteY7" fmla="*/ 0 h 4562475"/>
              <a:gd name="connsiteX0" fmla="*/ 2486 w 4465407"/>
              <a:gd name="connsiteY0" fmla="*/ 0 h 4564856"/>
              <a:gd name="connsiteX1" fmla="*/ 4464948 w 4465407"/>
              <a:gd name="connsiteY1" fmla="*/ 1819275 h 4564856"/>
              <a:gd name="connsiteX2" fmla="*/ 4464949 w 4465407"/>
              <a:gd name="connsiteY2" fmla="*/ 2747962 h 4564856"/>
              <a:gd name="connsiteX3" fmla="*/ 105 w 4465407"/>
              <a:gd name="connsiteY3" fmla="*/ 4564856 h 4564856"/>
              <a:gd name="connsiteX4" fmla="*/ 2486 w 4465407"/>
              <a:gd name="connsiteY4" fmla="*/ 3543300 h 4564856"/>
              <a:gd name="connsiteX5" fmla="*/ 3278293 w 4465407"/>
              <a:gd name="connsiteY5" fmla="*/ 2286000 h 4564856"/>
              <a:gd name="connsiteX6" fmla="*/ 2486 w 4465407"/>
              <a:gd name="connsiteY6" fmla="*/ 1016000 h 4564856"/>
              <a:gd name="connsiteX7" fmla="*/ 2486 w 4465407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47962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50343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55106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8417 w 4467453"/>
              <a:gd name="connsiteY5" fmla="*/ 2286000 h 4564856"/>
              <a:gd name="connsiteX6" fmla="*/ 2610 w 4467453"/>
              <a:gd name="connsiteY6" fmla="*/ 1016000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8417 w 4467453"/>
              <a:gd name="connsiteY5" fmla="*/ 2286000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1273 w 4467453"/>
              <a:gd name="connsiteY5" fmla="*/ 2288382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1273 w 4467453"/>
              <a:gd name="connsiteY5" fmla="*/ 2288382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9275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0763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0763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3145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64129 w 4465530"/>
              <a:gd name="connsiteY5" fmla="*/ 2288382 h 4564856"/>
              <a:gd name="connsiteX6" fmla="*/ 2610 w 4465530"/>
              <a:gd name="connsiteY6" fmla="*/ 1023145 h 4564856"/>
              <a:gd name="connsiteX7" fmla="*/ 2610 w 4465530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5066 w 4467986"/>
              <a:gd name="connsiteY6" fmla="*/ 1023145 h 4564856"/>
              <a:gd name="connsiteX7" fmla="*/ 0 w 4467986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2533 w 4467986"/>
              <a:gd name="connsiteY6" fmla="*/ 1018079 h 4564856"/>
              <a:gd name="connsiteX7" fmla="*/ 0 w 4467986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2533 w 4467986"/>
              <a:gd name="connsiteY6" fmla="*/ 1023145 h 4564856"/>
              <a:gd name="connsiteX7" fmla="*/ 0 w 4467986"/>
              <a:gd name="connsiteY7" fmla="*/ 0 h 4564856"/>
              <a:gd name="connsiteX0" fmla="*/ 0 w 4467986"/>
              <a:gd name="connsiteY0" fmla="*/ 0 h 4567262"/>
              <a:gd name="connsiteX1" fmla="*/ 4467527 w 4467986"/>
              <a:gd name="connsiteY1" fmla="*/ 1814537 h 4567262"/>
              <a:gd name="connsiteX2" fmla="*/ 4467529 w 4467986"/>
              <a:gd name="connsiteY2" fmla="*/ 2757512 h 4567262"/>
              <a:gd name="connsiteX3" fmla="*/ 2685 w 4467986"/>
              <a:gd name="connsiteY3" fmla="*/ 4567262 h 4567262"/>
              <a:gd name="connsiteX4" fmla="*/ 2684 w 4467986"/>
              <a:gd name="connsiteY4" fmla="*/ 3548087 h 4567262"/>
              <a:gd name="connsiteX5" fmla="*/ 3266585 w 4467986"/>
              <a:gd name="connsiteY5" fmla="*/ 2290788 h 4567262"/>
              <a:gd name="connsiteX6" fmla="*/ 2533 w 4467986"/>
              <a:gd name="connsiteY6" fmla="*/ 1025551 h 4567262"/>
              <a:gd name="connsiteX7" fmla="*/ 0 w 4467986"/>
              <a:gd name="connsiteY7" fmla="*/ 0 h 4567262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50493 h 4569668"/>
              <a:gd name="connsiteX5" fmla="*/ 3264555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48111 h 4569668"/>
              <a:gd name="connsiteX5" fmla="*/ 3264555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48111 h 4569668"/>
              <a:gd name="connsiteX5" fmla="*/ 3257411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65956" h="4569668">
                <a:moveTo>
                  <a:pt x="377" y="0"/>
                </a:moveTo>
                <a:lnTo>
                  <a:pt x="4465497" y="1816943"/>
                </a:lnTo>
                <a:cubicBezTo>
                  <a:pt x="4463910" y="2124918"/>
                  <a:pt x="4467086" y="2451943"/>
                  <a:pt x="4465499" y="2759918"/>
                </a:cubicBezTo>
                <a:lnTo>
                  <a:pt x="655" y="4569668"/>
                </a:lnTo>
                <a:cubicBezTo>
                  <a:pt x="-139" y="4230737"/>
                  <a:pt x="1448" y="3887042"/>
                  <a:pt x="654" y="3548111"/>
                </a:cubicBezTo>
                <a:lnTo>
                  <a:pt x="3257411" y="2293194"/>
                </a:lnTo>
                <a:lnTo>
                  <a:pt x="503" y="1027957"/>
                </a:lnTo>
                <a:cubicBezTo>
                  <a:pt x="-1186" y="686909"/>
                  <a:pt x="2066" y="341048"/>
                  <a:pt x="37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9" rIns="91431" bIns="45719" rtlCol="0" anchor="ctr"/>
          <a:lstStyle/>
          <a:p>
            <a:pPr algn="ctr" defTabSz="914264" fontAlgn="base">
              <a:spcBef>
                <a:spcPct val="0"/>
              </a:spcBef>
              <a:spcAft>
                <a:spcPct val="0"/>
              </a:spcAft>
            </a:pPr>
            <a:endParaRPr lang="en-CA" sz="2267" dirty="0">
              <a:solidFill>
                <a:prstClr val="white"/>
              </a:solidFill>
              <a:latin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313313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00777" y="478004"/>
            <a:ext cx="9517603" cy="410369"/>
          </a:xfrm>
        </p:spPr>
        <p:txBody>
          <a:bodyPr/>
          <a:lstStyle>
            <a:lvl1pPr>
              <a:defRPr sz="2667" b="1">
                <a:solidFill>
                  <a:schemeClr val="tx1"/>
                </a:solidFill>
                <a:latin typeface="微软雅黑"/>
                <a:ea typeface="微软雅黑" panose="020B0503020204020204" pitchFamily="34" charset="-122"/>
                <a:cs typeface="微软雅黑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Holder 6">
            <a:extLst>
              <a:ext uri="{FF2B5EF4-FFF2-40B4-BE49-F238E27FC236}">
                <a16:creationId xmlns:a16="http://schemas.microsoft.com/office/drawing/2014/main" id="{21172880-3EB3-46E1-A1BE-0F0C20343DA6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609600" y="6530343"/>
            <a:ext cx="2804160" cy="16414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微软雅黑"/>
                <a:ea typeface="微软雅黑"/>
              </a:defRPr>
            </a:lvl1pPr>
          </a:lstStyle>
          <a:p>
            <a:pPr algn="ctr" defTabSz="1086196"/>
            <a:r>
              <a:rPr lang="en-US" altLang="zh-CN" sz="1067">
                <a:solidFill>
                  <a:srgbClr val="FFFFFF">
                    <a:lumMod val="50000"/>
                  </a:srgbClr>
                </a:solidFill>
              </a:rPr>
              <a:t>Copyright © 2017 Accenture  All rights reserved.</a:t>
            </a:r>
            <a:endParaRPr lang="en-AU" altLang="zh-CN" sz="1067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Holder 7">
            <a:extLst>
              <a:ext uri="{FF2B5EF4-FFF2-40B4-BE49-F238E27FC236}">
                <a16:creationId xmlns:a16="http://schemas.microsoft.com/office/drawing/2014/main" id="{A1B287A5-7DB9-4BFB-8A08-A2A2B19CBC0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778240" y="6530341"/>
            <a:ext cx="2804160" cy="20518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ea typeface="微软雅黑"/>
              </a:defRPr>
            </a:lvl1pPr>
          </a:lstStyle>
          <a:p>
            <a:fld id="{B6F15528-21DE-4FAA-801E-634DDDAF4B2B}" type="slidenum">
              <a:rPr lang="en-US" altLang="zh-CN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altLang="zh-CN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337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9073" y="10"/>
            <a:ext cx="11270791" cy="10951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59073" y="1163371"/>
            <a:ext cx="11270791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67">
                <a:solidFill>
                  <a:schemeClr val="accent3"/>
                </a:solidFill>
              </a:defRPr>
            </a:lvl1pPr>
            <a:lvl2pPr>
              <a:defRPr sz="3467"/>
            </a:lvl2pPr>
            <a:lvl3pPr>
              <a:defRPr sz="3200"/>
            </a:lvl3pPr>
            <a:lvl4pPr>
              <a:defRPr sz="2933"/>
            </a:lvl4pPr>
            <a:lvl5pPr>
              <a:defRPr sz="2667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62394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50005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>
            <a:extLst>
              <a:ext uri="{FF2B5EF4-FFF2-40B4-BE49-F238E27FC236}">
                <a16:creationId xmlns:a16="http://schemas.microsoft.com/office/drawing/2014/main" id="{73213FC7-506F-4863-9066-A3B22A67F0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63644"/>
          </a:xfrm>
          <a:prstGeom prst="rect">
            <a:avLst/>
          </a:prstGeom>
        </p:spPr>
      </p:pic>
      <p:pic>
        <p:nvPicPr>
          <p:cNvPr id="14" name="GTS_Strategy_DIMENSIONAL_darkBG">
            <a:extLst>
              <a:ext uri="{FF2B5EF4-FFF2-40B4-BE49-F238E27FC236}">
                <a16:creationId xmlns:a16="http://schemas.microsoft.com/office/drawing/2014/main" id="{5DC2CA94-D1EB-4F42-8326-AB9ED34A40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88563" y="2347883"/>
            <a:ext cx="3537666" cy="3670329"/>
          </a:xfrm>
          <a:prstGeom prst="rect">
            <a:avLst/>
          </a:prstGeom>
        </p:spPr>
      </p:pic>
      <p:sp>
        <p:nvSpPr>
          <p:cNvPr id="7" name="Line 5">
            <a:extLst>
              <a:ext uri="{FF2B5EF4-FFF2-40B4-BE49-F238E27FC236}">
                <a16:creationId xmlns:a16="http://schemas.microsoft.com/office/drawing/2014/main" id="{2D05AA36-0E3C-4AC0-B4E1-D8EEDAF5F848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274638" y="1020746"/>
            <a:ext cx="11639195" cy="4081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>
              <a:solidFill>
                <a:prstClr val="black"/>
              </a:solidFill>
              <a:latin typeface="等线"/>
              <a:ea typeface="宋体" pitchFamily="2" charset="-122"/>
            </a:endParaRPr>
          </a:p>
        </p:txBody>
      </p:sp>
      <p:sp>
        <p:nvSpPr>
          <p:cNvPr id="10" name="Freeform 6">
            <a:extLst>
              <a:ext uri="{FF2B5EF4-FFF2-40B4-BE49-F238E27FC236}">
                <a16:creationId xmlns:a16="http://schemas.microsoft.com/office/drawing/2014/main" id="{64674AB3-8D9B-4FE1-8CF5-B9FEBBACC91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809256" y="526008"/>
            <a:ext cx="2014764" cy="385317"/>
          </a:xfrm>
          <a:custGeom>
            <a:avLst/>
            <a:gdLst>
              <a:gd name="T0" fmla="*/ 35 w 765"/>
              <a:gd name="T1" fmla="*/ 118 h 135"/>
              <a:gd name="T2" fmla="*/ 56 w 765"/>
              <a:gd name="T3" fmla="*/ 88 h 135"/>
              <a:gd name="T4" fmla="*/ 78 w 765"/>
              <a:gd name="T5" fmla="*/ 62 h 135"/>
              <a:gd name="T6" fmla="*/ 4 w 765"/>
              <a:gd name="T7" fmla="*/ 62 h 135"/>
              <a:gd name="T8" fmla="*/ 42 w 765"/>
              <a:gd name="T9" fmla="*/ 47 h 135"/>
              <a:gd name="T10" fmla="*/ 56 w 765"/>
              <a:gd name="T11" fmla="*/ 75 h 135"/>
              <a:gd name="T12" fmla="*/ 30 w 765"/>
              <a:gd name="T13" fmla="*/ 135 h 135"/>
              <a:gd name="T14" fmla="*/ 56 w 765"/>
              <a:gd name="T15" fmla="*/ 121 h 135"/>
              <a:gd name="T16" fmla="*/ 78 w 765"/>
              <a:gd name="T17" fmla="*/ 132 h 135"/>
              <a:gd name="T18" fmla="*/ 132 w 765"/>
              <a:gd name="T19" fmla="*/ 47 h 135"/>
              <a:gd name="T20" fmla="*/ 154 w 765"/>
              <a:gd name="T21" fmla="*/ 118 h 135"/>
              <a:gd name="T22" fmla="*/ 171 w 765"/>
              <a:gd name="T23" fmla="*/ 130 h 135"/>
              <a:gd name="T24" fmla="*/ 88 w 765"/>
              <a:gd name="T25" fmla="*/ 78 h 135"/>
              <a:gd name="T26" fmla="*/ 172 w 765"/>
              <a:gd name="T27" fmla="*/ 67 h 135"/>
              <a:gd name="T28" fmla="*/ 236 w 765"/>
              <a:gd name="T29" fmla="*/ 67 h 135"/>
              <a:gd name="T30" fmla="*/ 202 w 765"/>
              <a:gd name="T31" fmla="*/ 74 h 135"/>
              <a:gd name="T32" fmla="*/ 260 w 765"/>
              <a:gd name="T33" fmla="*/ 116 h 135"/>
              <a:gd name="T34" fmla="*/ 231 w 765"/>
              <a:gd name="T35" fmla="*/ 135 h 135"/>
              <a:gd name="T36" fmla="*/ 223 w 765"/>
              <a:gd name="T37" fmla="*/ 31 h 135"/>
              <a:gd name="T38" fmla="*/ 236 w 765"/>
              <a:gd name="T39" fmla="*/ 67 h 135"/>
              <a:gd name="T40" fmla="*/ 291 w 765"/>
              <a:gd name="T41" fmla="*/ 63 h 135"/>
              <a:gd name="T42" fmla="*/ 327 w 765"/>
              <a:gd name="T43" fmla="*/ 63 h 135"/>
              <a:gd name="T44" fmla="*/ 349 w 765"/>
              <a:gd name="T45" fmla="*/ 71 h 135"/>
              <a:gd name="T46" fmla="*/ 269 w 765"/>
              <a:gd name="T47" fmla="*/ 77 h 135"/>
              <a:gd name="T48" fmla="*/ 347 w 765"/>
              <a:gd name="T49" fmla="*/ 131 h 135"/>
              <a:gd name="T50" fmla="*/ 328 w 765"/>
              <a:gd name="T51" fmla="*/ 118 h 135"/>
              <a:gd name="T52" fmla="*/ 349 w 765"/>
              <a:gd name="T53" fmla="*/ 77 h 135"/>
              <a:gd name="T54" fmla="*/ 418 w 765"/>
              <a:gd name="T55" fmla="*/ 76 h 135"/>
              <a:gd name="T56" fmla="*/ 408 w 765"/>
              <a:gd name="T57" fmla="*/ 52 h 135"/>
              <a:gd name="T58" fmla="*/ 384 w 765"/>
              <a:gd name="T59" fmla="*/ 132 h 135"/>
              <a:gd name="T60" fmla="*/ 361 w 765"/>
              <a:gd name="T61" fmla="*/ 33 h 135"/>
              <a:gd name="T62" fmla="*/ 384 w 765"/>
              <a:gd name="T63" fmla="*/ 51 h 135"/>
              <a:gd name="T64" fmla="*/ 414 w 765"/>
              <a:gd name="T65" fmla="*/ 31 h 135"/>
              <a:gd name="T66" fmla="*/ 441 w 765"/>
              <a:gd name="T67" fmla="*/ 132 h 135"/>
              <a:gd name="T68" fmla="*/ 489 w 765"/>
              <a:gd name="T69" fmla="*/ 49 h 135"/>
              <a:gd name="T70" fmla="*/ 505 w 765"/>
              <a:gd name="T71" fmla="*/ 118 h 135"/>
              <a:gd name="T72" fmla="*/ 516 w 765"/>
              <a:gd name="T73" fmla="*/ 133 h 135"/>
              <a:gd name="T74" fmla="*/ 466 w 765"/>
              <a:gd name="T75" fmla="*/ 107 h 135"/>
              <a:gd name="T76" fmla="*/ 447 w 765"/>
              <a:gd name="T77" fmla="*/ 49 h 135"/>
              <a:gd name="T78" fmla="*/ 466 w 765"/>
              <a:gd name="T79" fmla="*/ 33 h 135"/>
              <a:gd name="T80" fmla="*/ 489 w 765"/>
              <a:gd name="T81" fmla="*/ 0 h 135"/>
              <a:gd name="T82" fmla="*/ 519 w 765"/>
              <a:gd name="T83" fmla="*/ 33 h 135"/>
              <a:gd name="T84" fmla="*/ 489 w 765"/>
              <a:gd name="T85" fmla="*/ 49 h 135"/>
              <a:gd name="T86" fmla="*/ 586 w 765"/>
              <a:gd name="T87" fmla="*/ 114 h 135"/>
              <a:gd name="T88" fmla="*/ 556 w 765"/>
              <a:gd name="T89" fmla="*/ 135 h 135"/>
              <a:gd name="T90" fmla="*/ 529 w 765"/>
              <a:gd name="T91" fmla="*/ 33 h 135"/>
              <a:gd name="T92" fmla="*/ 552 w 765"/>
              <a:gd name="T93" fmla="*/ 90 h 135"/>
              <a:gd name="T94" fmla="*/ 563 w 765"/>
              <a:gd name="T95" fmla="*/ 113 h 135"/>
              <a:gd name="T96" fmla="*/ 586 w 765"/>
              <a:gd name="T97" fmla="*/ 33 h 135"/>
              <a:gd name="T98" fmla="*/ 609 w 765"/>
              <a:gd name="T99" fmla="*/ 132 h 135"/>
              <a:gd name="T100" fmla="*/ 647 w 765"/>
              <a:gd name="T101" fmla="*/ 89 h 135"/>
              <a:gd name="T102" fmla="*/ 624 w 765"/>
              <a:gd name="T103" fmla="*/ 132 h 135"/>
              <a:gd name="T104" fmla="*/ 647 w 765"/>
              <a:gd name="T105" fmla="*/ 33 h 135"/>
              <a:gd name="T106" fmla="*/ 648 w 765"/>
              <a:gd name="T107" fmla="*/ 51 h 135"/>
              <a:gd name="T108" fmla="*/ 680 w 765"/>
              <a:gd name="T109" fmla="*/ 55 h 135"/>
              <a:gd name="T110" fmla="*/ 743 w 765"/>
              <a:gd name="T111" fmla="*/ 63 h 135"/>
              <a:gd name="T112" fmla="*/ 726 w 765"/>
              <a:gd name="T113" fmla="*/ 45 h 135"/>
              <a:gd name="T114" fmla="*/ 765 w 765"/>
              <a:gd name="T115" fmla="*/ 77 h 135"/>
              <a:gd name="T116" fmla="*/ 727 w 765"/>
              <a:gd name="T117" fmla="*/ 31 h 135"/>
              <a:gd name="T118" fmla="*/ 735 w 765"/>
              <a:gd name="T119" fmla="*/ 135 h 135"/>
              <a:gd name="T120" fmla="*/ 763 w 765"/>
              <a:gd name="T121" fmla="*/ 115 h 135"/>
              <a:gd name="T122" fmla="*/ 706 w 765"/>
              <a:gd name="T123" fmla="*/ 77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65" h="135">
                <a:moveTo>
                  <a:pt x="56" y="88"/>
                </a:moveTo>
                <a:cubicBezTo>
                  <a:pt x="56" y="101"/>
                  <a:pt x="51" y="118"/>
                  <a:pt x="35" y="118"/>
                </a:cubicBezTo>
                <a:cubicBezTo>
                  <a:pt x="28" y="118"/>
                  <a:pt x="23" y="114"/>
                  <a:pt x="23" y="106"/>
                </a:cubicBezTo>
                <a:cubicBezTo>
                  <a:pt x="23" y="91"/>
                  <a:pt x="45" y="88"/>
                  <a:pt x="56" y="88"/>
                </a:cubicBezTo>
                <a:close/>
                <a:moveTo>
                  <a:pt x="78" y="132"/>
                </a:moveTo>
                <a:cubicBezTo>
                  <a:pt x="78" y="62"/>
                  <a:pt x="78" y="62"/>
                  <a:pt x="78" y="62"/>
                </a:cubicBezTo>
                <a:cubicBezTo>
                  <a:pt x="78" y="38"/>
                  <a:pt x="63" y="31"/>
                  <a:pt x="42" y="31"/>
                </a:cubicBezTo>
                <a:cubicBezTo>
                  <a:pt x="21" y="31"/>
                  <a:pt x="4" y="39"/>
                  <a:pt x="4" y="62"/>
                </a:cubicBezTo>
                <a:cubicBezTo>
                  <a:pt x="27" y="62"/>
                  <a:pt x="27" y="62"/>
                  <a:pt x="27" y="62"/>
                </a:cubicBezTo>
                <a:cubicBezTo>
                  <a:pt x="27" y="52"/>
                  <a:pt x="32" y="47"/>
                  <a:pt x="42" y="47"/>
                </a:cubicBezTo>
                <a:cubicBezTo>
                  <a:pt x="53" y="47"/>
                  <a:pt x="56" y="55"/>
                  <a:pt x="56" y="65"/>
                </a:cubicBezTo>
                <a:cubicBezTo>
                  <a:pt x="56" y="75"/>
                  <a:pt x="56" y="75"/>
                  <a:pt x="56" y="75"/>
                </a:cubicBezTo>
                <a:cubicBezTo>
                  <a:pt x="33" y="76"/>
                  <a:pt x="0" y="79"/>
                  <a:pt x="0" y="109"/>
                </a:cubicBezTo>
                <a:cubicBezTo>
                  <a:pt x="0" y="125"/>
                  <a:pt x="14" y="135"/>
                  <a:pt x="30" y="135"/>
                </a:cubicBezTo>
                <a:cubicBezTo>
                  <a:pt x="41" y="135"/>
                  <a:pt x="51" y="131"/>
                  <a:pt x="56" y="121"/>
                </a:cubicBezTo>
                <a:cubicBezTo>
                  <a:pt x="56" y="121"/>
                  <a:pt x="56" y="121"/>
                  <a:pt x="56" y="121"/>
                </a:cubicBezTo>
                <a:cubicBezTo>
                  <a:pt x="56" y="132"/>
                  <a:pt x="56" y="132"/>
                  <a:pt x="56" y="132"/>
                </a:cubicBezTo>
                <a:lnTo>
                  <a:pt x="78" y="132"/>
                </a:lnTo>
                <a:close/>
                <a:moveTo>
                  <a:pt x="147" y="67"/>
                </a:moveTo>
                <a:cubicBezTo>
                  <a:pt x="147" y="57"/>
                  <a:pt x="144" y="47"/>
                  <a:pt x="132" y="47"/>
                </a:cubicBezTo>
                <a:cubicBezTo>
                  <a:pt x="117" y="47"/>
                  <a:pt x="113" y="62"/>
                  <a:pt x="113" y="74"/>
                </a:cubicBezTo>
                <a:cubicBezTo>
                  <a:pt x="113" y="99"/>
                  <a:pt x="128" y="118"/>
                  <a:pt x="154" y="118"/>
                </a:cubicBezTo>
                <a:cubicBezTo>
                  <a:pt x="160" y="118"/>
                  <a:pt x="165" y="118"/>
                  <a:pt x="171" y="116"/>
                </a:cubicBezTo>
                <a:cubicBezTo>
                  <a:pt x="171" y="130"/>
                  <a:pt x="171" y="130"/>
                  <a:pt x="171" y="130"/>
                </a:cubicBezTo>
                <a:cubicBezTo>
                  <a:pt x="161" y="133"/>
                  <a:pt x="151" y="135"/>
                  <a:pt x="142" y="135"/>
                </a:cubicBezTo>
                <a:cubicBezTo>
                  <a:pt x="106" y="135"/>
                  <a:pt x="88" y="113"/>
                  <a:pt x="88" y="78"/>
                </a:cubicBezTo>
                <a:cubicBezTo>
                  <a:pt x="88" y="49"/>
                  <a:pt x="104" y="31"/>
                  <a:pt x="134" y="31"/>
                </a:cubicBezTo>
                <a:cubicBezTo>
                  <a:pt x="158" y="31"/>
                  <a:pt x="172" y="42"/>
                  <a:pt x="172" y="67"/>
                </a:cubicBezTo>
                <a:lnTo>
                  <a:pt x="147" y="67"/>
                </a:lnTo>
                <a:close/>
                <a:moveTo>
                  <a:pt x="236" y="67"/>
                </a:moveTo>
                <a:cubicBezTo>
                  <a:pt x="236" y="57"/>
                  <a:pt x="233" y="47"/>
                  <a:pt x="221" y="47"/>
                </a:cubicBezTo>
                <a:cubicBezTo>
                  <a:pt x="206" y="47"/>
                  <a:pt x="202" y="62"/>
                  <a:pt x="202" y="74"/>
                </a:cubicBezTo>
                <a:cubicBezTo>
                  <a:pt x="202" y="99"/>
                  <a:pt x="217" y="118"/>
                  <a:pt x="243" y="118"/>
                </a:cubicBezTo>
                <a:cubicBezTo>
                  <a:pt x="249" y="118"/>
                  <a:pt x="254" y="118"/>
                  <a:pt x="260" y="116"/>
                </a:cubicBezTo>
                <a:cubicBezTo>
                  <a:pt x="260" y="130"/>
                  <a:pt x="260" y="130"/>
                  <a:pt x="260" y="130"/>
                </a:cubicBezTo>
                <a:cubicBezTo>
                  <a:pt x="250" y="133"/>
                  <a:pt x="241" y="135"/>
                  <a:pt x="231" y="135"/>
                </a:cubicBezTo>
                <a:cubicBezTo>
                  <a:pt x="195" y="135"/>
                  <a:pt x="177" y="113"/>
                  <a:pt x="177" y="78"/>
                </a:cubicBezTo>
                <a:cubicBezTo>
                  <a:pt x="177" y="49"/>
                  <a:pt x="193" y="31"/>
                  <a:pt x="223" y="31"/>
                </a:cubicBezTo>
                <a:cubicBezTo>
                  <a:pt x="247" y="31"/>
                  <a:pt x="261" y="42"/>
                  <a:pt x="261" y="67"/>
                </a:cubicBezTo>
                <a:lnTo>
                  <a:pt x="236" y="67"/>
                </a:lnTo>
                <a:close/>
                <a:moveTo>
                  <a:pt x="327" y="63"/>
                </a:moveTo>
                <a:cubicBezTo>
                  <a:pt x="291" y="63"/>
                  <a:pt x="291" y="63"/>
                  <a:pt x="291" y="63"/>
                </a:cubicBezTo>
                <a:cubicBezTo>
                  <a:pt x="292" y="53"/>
                  <a:pt x="300" y="45"/>
                  <a:pt x="310" y="45"/>
                </a:cubicBezTo>
                <a:cubicBezTo>
                  <a:pt x="320" y="45"/>
                  <a:pt x="327" y="52"/>
                  <a:pt x="327" y="63"/>
                </a:cubicBezTo>
                <a:close/>
                <a:moveTo>
                  <a:pt x="349" y="77"/>
                </a:moveTo>
                <a:cubicBezTo>
                  <a:pt x="349" y="71"/>
                  <a:pt x="349" y="71"/>
                  <a:pt x="349" y="71"/>
                </a:cubicBezTo>
                <a:cubicBezTo>
                  <a:pt x="349" y="47"/>
                  <a:pt x="337" y="31"/>
                  <a:pt x="311" y="31"/>
                </a:cubicBezTo>
                <a:cubicBezTo>
                  <a:pt x="282" y="31"/>
                  <a:pt x="269" y="49"/>
                  <a:pt x="269" y="77"/>
                </a:cubicBezTo>
                <a:cubicBezTo>
                  <a:pt x="269" y="110"/>
                  <a:pt x="283" y="135"/>
                  <a:pt x="319" y="135"/>
                </a:cubicBezTo>
                <a:cubicBezTo>
                  <a:pt x="328" y="135"/>
                  <a:pt x="338" y="134"/>
                  <a:pt x="347" y="131"/>
                </a:cubicBezTo>
                <a:cubicBezTo>
                  <a:pt x="347" y="115"/>
                  <a:pt x="347" y="115"/>
                  <a:pt x="347" y="115"/>
                </a:cubicBezTo>
                <a:cubicBezTo>
                  <a:pt x="341" y="117"/>
                  <a:pt x="334" y="118"/>
                  <a:pt x="328" y="118"/>
                </a:cubicBezTo>
                <a:cubicBezTo>
                  <a:pt x="305" y="118"/>
                  <a:pt x="290" y="98"/>
                  <a:pt x="290" y="77"/>
                </a:cubicBezTo>
                <a:lnTo>
                  <a:pt x="349" y="77"/>
                </a:lnTo>
                <a:close/>
                <a:moveTo>
                  <a:pt x="418" y="132"/>
                </a:moveTo>
                <a:cubicBezTo>
                  <a:pt x="418" y="76"/>
                  <a:pt x="418" y="76"/>
                  <a:pt x="418" y="76"/>
                </a:cubicBezTo>
                <a:cubicBezTo>
                  <a:pt x="418" y="71"/>
                  <a:pt x="418" y="58"/>
                  <a:pt x="414" y="54"/>
                </a:cubicBezTo>
                <a:cubicBezTo>
                  <a:pt x="413" y="53"/>
                  <a:pt x="410" y="52"/>
                  <a:pt x="408" y="52"/>
                </a:cubicBezTo>
                <a:cubicBezTo>
                  <a:pt x="391" y="52"/>
                  <a:pt x="384" y="76"/>
                  <a:pt x="384" y="89"/>
                </a:cubicBezTo>
                <a:cubicBezTo>
                  <a:pt x="384" y="132"/>
                  <a:pt x="384" y="132"/>
                  <a:pt x="384" y="132"/>
                </a:cubicBezTo>
                <a:cubicBezTo>
                  <a:pt x="361" y="132"/>
                  <a:pt x="361" y="132"/>
                  <a:pt x="361" y="132"/>
                </a:cubicBezTo>
                <a:cubicBezTo>
                  <a:pt x="361" y="33"/>
                  <a:pt x="361" y="33"/>
                  <a:pt x="361" y="33"/>
                </a:cubicBezTo>
                <a:cubicBezTo>
                  <a:pt x="384" y="33"/>
                  <a:pt x="384" y="33"/>
                  <a:pt x="384" y="33"/>
                </a:cubicBezTo>
                <a:cubicBezTo>
                  <a:pt x="384" y="51"/>
                  <a:pt x="384" y="51"/>
                  <a:pt x="384" y="51"/>
                </a:cubicBezTo>
                <a:cubicBezTo>
                  <a:pt x="385" y="51"/>
                  <a:pt x="385" y="51"/>
                  <a:pt x="385" y="51"/>
                </a:cubicBezTo>
                <a:cubicBezTo>
                  <a:pt x="390" y="39"/>
                  <a:pt x="400" y="31"/>
                  <a:pt x="414" y="31"/>
                </a:cubicBezTo>
                <a:cubicBezTo>
                  <a:pt x="433" y="31"/>
                  <a:pt x="441" y="46"/>
                  <a:pt x="441" y="63"/>
                </a:cubicBezTo>
                <a:cubicBezTo>
                  <a:pt x="441" y="132"/>
                  <a:pt x="441" y="132"/>
                  <a:pt x="441" y="132"/>
                </a:cubicBezTo>
                <a:lnTo>
                  <a:pt x="418" y="132"/>
                </a:lnTo>
                <a:close/>
                <a:moveTo>
                  <a:pt x="489" y="49"/>
                </a:moveTo>
                <a:cubicBezTo>
                  <a:pt x="489" y="96"/>
                  <a:pt x="489" y="96"/>
                  <a:pt x="489" y="96"/>
                </a:cubicBezTo>
                <a:cubicBezTo>
                  <a:pt x="489" y="108"/>
                  <a:pt x="491" y="118"/>
                  <a:pt x="505" y="118"/>
                </a:cubicBezTo>
                <a:cubicBezTo>
                  <a:pt x="509" y="118"/>
                  <a:pt x="512" y="118"/>
                  <a:pt x="516" y="117"/>
                </a:cubicBezTo>
                <a:cubicBezTo>
                  <a:pt x="516" y="133"/>
                  <a:pt x="516" y="133"/>
                  <a:pt x="516" y="133"/>
                </a:cubicBezTo>
                <a:cubicBezTo>
                  <a:pt x="510" y="134"/>
                  <a:pt x="503" y="135"/>
                  <a:pt x="497" y="135"/>
                </a:cubicBezTo>
                <a:cubicBezTo>
                  <a:pt x="477" y="135"/>
                  <a:pt x="466" y="128"/>
                  <a:pt x="466" y="107"/>
                </a:cubicBezTo>
                <a:cubicBezTo>
                  <a:pt x="466" y="49"/>
                  <a:pt x="466" y="49"/>
                  <a:pt x="466" y="49"/>
                </a:cubicBezTo>
                <a:cubicBezTo>
                  <a:pt x="447" y="49"/>
                  <a:pt x="447" y="49"/>
                  <a:pt x="447" y="49"/>
                </a:cubicBezTo>
                <a:cubicBezTo>
                  <a:pt x="447" y="33"/>
                  <a:pt x="447" y="33"/>
                  <a:pt x="447" y="33"/>
                </a:cubicBezTo>
                <a:cubicBezTo>
                  <a:pt x="466" y="33"/>
                  <a:pt x="466" y="33"/>
                  <a:pt x="466" y="33"/>
                </a:cubicBezTo>
                <a:cubicBezTo>
                  <a:pt x="466" y="9"/>
                  <a:pt x="466" y="9"/>
                  <a:pt x="466" y="9"/>
                </a:cubicBezTo>
                <a:cubicBezTo>
                  <a:pt x="489" y="0"/>
                  <a:pt x="489" y="0"/>
                  <a:pt x="489" y="0"/>
                </a:cubicBezTo>
                <a:cubicBezTo>
                  <a:pt x="489" y="33"/>
                  <a:pt x="489" y="33"/>
                  <a:pt x="489" y="33"/>
                </a:cubicBezTo>
                <a:cubicBezTo>
                  <a:pt x="519" y="33"/>
                  <a:pt x="519" y="33"/>
                  <a:pt x="519" y="33"/>
                </a:cubicBezTo>
                <a:cubicBezTo>
                  <a:pt x="519" y="49"/>
                  <a:pt x="519" y="49"/>
                  <a:pt x="519" y="49"/>
                </a:cubicBezTo>
                <a:lnTo>
                  <a:pt x="489" y="49"/>
                </a:lnTo>
                <a:close/>
                <a:moveTo>
                  <a:pt x="586" y="132"/>
                </a:moveTo>
                <a:cubicBezTo>
                  <a:pt x="586" y="114"/>
                  <a:pt x="586" y="114"/>
                  <a:pt x="586" y="114"/>
                </a:cubicBezTo>
                <a:cubicBezTo>
                  <a:pt x="586" y="114"/>
                  <a:pt x="586" y="114"/>
                  <a:pt x="586" y="114"/>
                </a:cubicBezTo>
                <a:cubicBezTo>
                  <a:pt x="580" y="126"/>
                  <a:pt x="570" y="135"/>
                  <a:pt x="556" y="135"/>
                </a:cubicBezTo>
                <a:cubicBezTo>
                  <a:pt x="537" y="135"/>
                  <a:pt x="529" y="119"/>
                  <a:pt x="529" y="102"/>
                </a:cubicBezTo>
                <a:cubicBezTo>
                  <a:pt x="529" y="33"/>
                  <a:pt x="529" y="33"/>
                  <a:pt x="529" y="33"/>
                </a:cubicBezTo>
                <a:cubicBezTo>
                  <a:pt x="552" y="33"/>
                  <a:pt x="552" y="33"/>
                  <a:pt x="552" y="33"/>
                </a:cubicBezTo>
                <a:cubicBezTo>
                  <a:pt x="552" y="90"/>
                  <a:pt x="552" y="90"/>
                  <a:pt x="552" y="90"/>
                </a:cubicBezTo>
                <a:cubicBezTo>
                  <a:pt x="552" y="95"/>
                  <a:pt x="552" y="107"/>
                  <a:pt x="556" y="111"/>
                </a:cubicBezTo>
                <a:cubicBezTo>
                  <a:pt x="558" y="113"/>
                  <a:pt x="560" y="113"/>
                  <a:pt x="563" y="113"/>
                </a:cubicBezTo>
                <a:cubicBezTo>
                  <a:pt x="579" y="113"/>
                  <a:pt x="586" y="89"/>
                  <a:pt x="586" y="76"/>
                </a:cubicBezTo>
                <a:cubicBezTo>
                  <a:pt x="586" y="33"/>
                  <a:pt x="586" y="33"/>
                  <a:pt x="586" y="33"/>
                </a:cubicBezTo>
                <a:cubicBezTo>
                  <a:pt x="609" y="33"/>
                  <a:pt x="609" y="33"/>
                  <a:pt x="609" y="33"/>
                </a:cubicBezTo>
                <a:cubicBezTo>
                  <a:pt x="609" y="132"/>
                  <a:pt x="609" y="132"/>
                  <a:pt x="609" y="132"/>
                </a:cubicBezTo>
                <a:lnTo>
                  <a:pt x="586" y="132"/>
                </a:lnTo>
                <a:close/>
                <a:moveTo>
                  <a:pt x="647" y="89"/>
                </a:moveTo>
                <a:cubicBezTo>
                  <a:pt x="647" y="132"/>
                  <a:pt x="647" y="132"/>
                  <a:pt x="647" y="132"/>
                </a:cubicBezTo>
                <a:cubicBezTo>
                  <a:pt x="624" y="132"/>
                  <a:pt x="624" y="132"/>
                  <a:pt x="624" y="132"/>
                </a:cubicBezTo>
                <a:cubicBezTo>
                  <a:pt x="624" y="33"/>
                  <a:pt x="624" y="33"/>
                  <a:pt x="624" y="33"/>
                </a:cubicBezTo>
                <a:cubicBezTo>
                  <a:pt x="647" y="33"/>
                  <a:pt x="647" y="33"/>
                  <a:pt x="647" y="33"/>
                </a:cubicBezTo>
                <a:cubicBezTo>
                  <a:pt x="647" y="51"/>
                  <a:pt x="647" y="51"/>
                  <a:pt x="647" y="51"/>
                </a:cubicBezTo>
                <a:cubicBezTo>
                  <a:pt x="648" y="51"/>
                  <a:pt x="648" y="51"/>
                  <a:pt x="648" y="51"/>
                </a:cubicBezTo>
                <a:cubicBezTo>
                  <a:pt x="655" y="37"/>
                  <a:pt x="663" y="31"/>
                  <a:pt x="680" y="31"/>
                </a:cubicBezTo>
                <a:cubicBezTo>
                  <a:pt x="680" y="55"/>
                  <a:pt x="680" y="55"/>
                  <a:pt x="680" y="55"/>
                </a:cubicBezTo>
                <a:cubicBezTo>
                  <a:pt x="656" y="55"/>
                  <a:pt x="647" y="65"/>
                  <a:pt x="647" y="89"/>
                </a:cubicBezTo>
                <a:close/>
                <a:moveTo>
                  <a:pt x="743" y="63"/>
                </a:moveTo>
                <a:cubicBezTo>
                  <a:pt x="707" y="63"/>
                  <a:pt x="707" y="63"/>
                  <a:pt x="707" y="63"/>
                </a:cubicBezTo>
                <a:cubicBezTo>
                  <a:pt x="708" y="53"/>
                  <a:pt x="715" y="45"/>
                  <a:pt x="726" y="45"/>
                </a:cubicBezTo>
                <a:cubicBezTo>
                  <a:pt x="736" y="45"/>
                  <a:pt x="743" y="52"/>
                  <a:pt x="743" y="63"/>
                </a:cubicBezTo>
                <a:close/>
                <a:moveTo>
                  <a:pt x="765" y="77"/>
                </a:moveTo>
                <a:cubicBezTo>
                  <a:pt x="765" y="71"/>
                  <a:pt x="765" y="71"/>
                  <a:pt x="765" y="71"/>
                </a:cubicBezTo>
                <a:cubicBezTo>
                  <a:pt x="765" y="47"/>
                  <a:pt x="753" y="31"/>
                  <a:pt x="727" y="31"/>
                </a:cubicBezTo>
                <a:cubicBezTo>
                  <a:pt x="698" y="31"/>
                  <a:pt x="685" y="49"/>
                  <a:pt x="685" y="77"/>
                </a:cubicBezTo>
                <a:cubicBezTo>
                  <a:pt x="685" y="110"/>
                  <a:pt x="699" y="135"/>
                  <a:pt x="735" y="135"/>
                </a:cubicBezTo>
                <a:cubicBezTo>
                  <a:pt x="744" y="135"/>
                  <a:pt x="754" y="134"/>
                  <a:pt x="763" y="131"/>
                </a:cubicBezTo>
                <a:cubicBezTo>
                  <a:pt x="763" y="115"/>
                  <a:pt x="763" y="115"/>
                  <a:pt x="763" y="115"/>
                </a:cubicBezTo>
                <a:cubicBezTo>
                  <a:pt x="757" y="117"/>
                  <a:pt x="750" y="118"/>
                  <a:pt x="744" y="118"/>
                </a:cubicBezTo>
                <a:cubicBezTo>
                  <a:pt x="721" y="118"/>
                  <a:pt x="706" y="98"/>
                  <a:pt x="706" y="77"/>
                </a:cubicBezTo>
                <a:lnTo>
                  <a:pt x="765" y="7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AU" sz="1400" dirty="0">
              <a:solidFill>
                <a:prstClr val="black"/>
              </a:solidFill>
              <a:latin typeface="等线"/>
              <a:cs typeface="Arial" charset="0"/>
            </a:endParaRPr>
          </a:p>
        </p:txBody>
      </p:sp>
      <p:sp>
        <p:nvSpPr>
          <p:cNvPr id="11" name="Freeform 18">
            <a:extLst>
              <a:ext uri="{FF2B5EF4-FFF2-40B4-BE49-F238E27FC236}">
                <a16:creationId xmlns:a16="http://schemas.microsoft.com/office/drawing/2014/main" id="{9C5280F5-1D93-4945-B648-7024CD286F8A}"/>
              </a:ext>
            </a:extLst>
          </p:cNvPr>
          <p:cNvSpPr/>
          <p:nvPr userDrawn="1"/>
        </p:nvSpPr>
        <p:spPr>
          <a:xfrm>
            <a:off x="10977111" y="268153"/>
            <a:ext cx="193957" cy="215132"/>
          </a:xfrm>
          <a:custGeom>
            <a:avLst/>
            <a:gdLst>
              <a:gd name="connsiteX0" fmla="*/ 0 w 4457700"/>
              <a:gd name="connsiteY0" fmla="*/ 0 h 4552950"/>
              <a:gd name="connsiteX1" fmla="*/ 4457700 w 4457700"/>
              <a:gd name="connsiteY1" fmla="*/ 1828800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57700"/>
              <a:gd name="connsiteY0" fmla="*/ 0 h 4552950"/>
              <a:gd name="connsiteX1" fmla="*/ 4457700 w 4457700"/>
              <a:gd name="connsiteY1" fmla="*/ 1824037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57700"/>
              <a:gd name="connsiteY0" fmla="*/ 0 h 4552950"/>
              <a:gd name="connsiteX1" fmla="*/ 4457700 w 4457700"/>
              <a:gd name="connsiteY1" fmla="*/ 1816893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62462"/>
              <a:gd name="connsiteY0" fmla="*/ 0 h 4552950"/>
              <a:gd name="connsiteX1" fmla="*/ 4462462 w 4462462"/>
              <a:gd name="connsiteY1" fmla="*/ 1819275 h 4552950"/>
              <a:gd name="connsiteX2" fmla="*/ 4457700 w 4462462"/>
              <a:gd name="connsiteY2" fmla="*/ 2743200 h 4552950"/>
              <a:gd name="connsiteX3" fmla="*/ 0 w 4462462"/>
              <a:gd name="connsiteY3" fmla="*/ 4552950 h 4552950"/>
              <a:gd name="connsiteX4" fmla="*/ 0 w 4462462"/>
              <a:gd name="connsiteY4" fmla="*/ 3543300 h 4552950"/>
              <a:gd name="connsiteX5" fmla="*/ 3282950 w 4462462"/>
              <a:gd name="connsiteY5" fmla="*/ 2286000 h 4552950"/>
              <a:gd name="connsiteX6" fmla="*/ 0 w 4462462"/>
              <a:gd name="connsiteY6" fmla="*/ 1016000 h 4552950"/>
              <a:gd name="connsiteX7" fmla="*/ 0 w 4462462"/>
              <a:gd name="connsiteY7" fmla="*/ 0 h 4552950"/>
              <a:gd name="connsiteX0" fmla="*/ 0 w 4462921"/>
              <a:gd name="connsiteY0" fmla="*/ 0 h 4552950"/>
              <a:gd name="connsiteX1" fmla="*/ 4462462 w 4462921"/>
              <a:gd name="connsiteY1" fmla="*/ 1819275 h 4552950"/>
              <a:gd name="connsiteX2" fmla="*/ 4462463 w 4462921"/>
              <a:gd name="connsiteY2" fmla="*/ 2747962 h 4552950"/>
              <a:gd name="connsiteX3" fmla="*/ 0 w 4462921"/>
              <a:gd name="connsiteY3" fmla="*/ 4552950 h 4552950"/>
              <a:gd name="connsiteX4" fmla="*/ 0 w 4462921"/>
              <a:gd name="connsiteY4" fmla="*/ 3543300 h 4552950"/>
              <a:gd name="connsiteX5" fmla="*/ 3282950 w 4462921"/>
              <a:gd name="connsiteY5" fmla="*/ 2286000 h 4552950"/>
              <a:gd name="connsiteX6" fmla="*/ 0 w 4462921"/>
              <a:gd name="connsiteY6" fmla="*/ 1016000 h 4552950"/>
              <a:gd name="connsiteX7" fmla="*/ 0 w 4462921"/>
              <a:gd name="connsiteY7" fmla="*/ 0 h 4552950"/>
              <a:gd name="connsiteX0" fmla="*/ 0 w 4462921"/>
              <a:gd name="connsiteY0" fmla="*/ 0 h 4552950"/>
              <a:gd name="connsiteX1" fmla="*/ 4462462 w 4462921"/>
              <a:gd name="connsiteY1" fmla="*/ 1819275 h 4552950"/>
              <a:gd name="connsiteX2" fmla="*/ 4462463 w 4462921"/>
              <a:gd name="connsiteY2" fmla="*/ 2747962 h 4552950"/>
              <a:gd name="connsiteX3" fmla="*/ 0 w 4462921"/>
              <a:gd name="connsiteY3" fmla="*/ 4552950 h 4552950"/>
              <a:gd name="connsiteX4" fmla="*/ 0 w 4462921"/>
              <a:gd name="connsiteY4" fmla="*/ 3543300 h 4552950"/>
              <a:gd name="connsiteX5" fmla="*/ 3282950 w 4462921"/>
              <a:gd name="connsiteY5" fmla="*/ 2286000 h 4552950"/>
              <a:gd name="connsiteX6" fmla="*/ 0 w 4462921"/>
              <a:gd name="connsiteY6" fmla="*/ 1016000 h 4552950"/>
              <a:gd name="connsiteX7" fmla="*/ 0 w 4462921"/>
              <a:gd name="connsiteY7" fmla="*/ 0 h 4552950"/>
              <a:gd name="connsiteX0" fmla="*/ 0 w 4462921"/>
              <a:gd name="connsiteY0" fmla="*/ 0 h 4560094"/>
              <a:gd name="connsiteX1" fmla="*/ 4462462 w 4462921"/>
              <a:gd name="connsiteY1" fmla="*/ 1819275 h 4560094"/>
              <a:gd name="connsiteX2" fmla="*/ 4462463 w 4462921"/>
              <a:gd name="connsiteY2" fmla="*/ 2747962 h 4560094"/>
              <a:gd name="connsiteX3" fmla="*/ 2381 w 4462921"/>
              <a:gd name="connsiteY3" fmla="*/ 4560094 h 4560094"/>
              <a:gd name="connsiteX4" fmla="*/ 0 w 4462921"/>
              <a:gd name="connsiteY4" fmla="*/ 3543300 h 4560094"/>
              <a:gd name="connsiteX5" fmla="*/ 3282950 w 4462921"/>
              <a:gd name="connsiteY5" fmla="*/ 2286000 h 4560094"/>
              <a:gd name="connsiteX6" fmla="*/ 0 w 4462921"/>
              <a:gd name="connsiteY6" fmla="*/ 1016000 h 4560094"/>
              <a:gd name="connsiteX7" fmla="*/ 0 w 4462921"/>
              <a:gd name="connsiteY7" fmla="*/ 0 h 4560094"/>
              <a:gd name="connsiteX0" fmla="*/ 0 w 4462921"/>
              <a:gd name="connsiteY0" fmla="*/ 0 h 4560094"/>
              <a:gd name="connsiteX1" fmla="*/ 4462462 w 4462921"/>
              <a:gd name="connsiteY1" fmla="*/ 1819275 h 4560094"/>
              <a:gd name="connsiteX2" fmla="*/ 4462463 w 4462921"/>
              <a:gd name="connsiteY2" fmla="*/ 2747962 h 4560094"/>
              <a:gd name="connsiteX3" fmla="*/ 2381 w 4462921"/>
              <a:gd name="connsiteY3" fmla="*/ 4560094 h 4560094"/>
              <a:gd name="connsiteX4" fmla="*/ 0 w 4462921"/>
              <a:gd name="connsiteY4" fmla="*/ 3543300 h 4560094"/>
              <a:gd name="connsiteX5" fmla="*/ 3275807 w 4462921"/>
              <a:gd name="connsiteY5" fmla="*/ 2286000 h 4560094"/>
              <a:gd name="connsiteX6" fmla="*/ 0 w 4462921"/>
              <a:gd name="connsiteY6" fmla="*/ 1016000 h 4560094"/>
              <a:gd name="connsiteX7" fmla="*/ 0 w 4462921"/>
              <a:gd name="connsiteY7" fmla="*/ 0 h 4560094"/>
              <a:gd name="connsiteX0" fmla="*/ 0 w 4462921"/>
              <a:gd name="connsiteY0" fmla="*/ 0 h 4557713"/>
              <a:gd name="connsiteX1" fmla="*/ 4462462 w 4462921"/>
              <a:gd name="connsiteY1" fmla="*/ 1819275 h 4557713"/>
              <a:gd name="connsiteX2" fmla="*/ 4462463 w 4462921"/>
              <a:gd name="connsiteY2" fmla="*/ 2747962 h 4557713"/>
              <a:gd name="connsiteX3" fmla="*/ 2381 w 4462921"/>
              <a:gd name="connsiteY3" fmla="*/ 4557713 h 4557713"/>
              <a:gd name="connsiteX4" fmla="*/ 0 w 4462921"/>
              <a:gd name="connsiteY4" fmla="*/ 3543300 h 4557713"/>
              <a:gd name="connsiteX5" fmla="*/ 3275807 w 4462921"/>
              <a:gd name="connsiteY5" fmla="*/ 2286000 h 4557713"/>
              <a:gd name="connsiteX6" fmla="*/ 0 w 4462921"/>
              <a:gd name="connsiteY6" fmla="*/ 1016000 h 4557713"/>
              <a:gd name="connsiteX7" fmla="*/ 0 w 4462921"/>
              <a:gd name="connsiteY7" fmla="*/ 0 h 4557713"/>
              <a:gd name="connsiteX0" fmla="*/ 0 w 4462921"/>
              <a:gd name="connsiteY0" fmla="*/ 0 h 4562475"/>
              <a:gd name="connsiteX1" fmla="*/ 4462462 w 4462921"/>
              <a:gd name="connsiteY1" fmla="*/ 1819275 h 4562475"/>
              <a:gd name="connsiteX2" fmla="*/ 4462463 w 4462921"/>
              <a:gd name="connsiteY2" fmla="*/ 2747962 h 4562475"/>
              <a:gd name="connsiteX3" fmla="*/ 2381 w 4462921"/>
              <a:gd name="connsiteY3" fmla="*/ 4562475 h 4562475"/>
              <a:gd name="connsiteX4" fmla="*/ 0 w 4462921"/>
              <a:gd name="connsiteY4" fmla="*/ 3543300 h 4562475"/>
              <a:gd name="connsiteX5" fmla="*/ 3275807 w 4462921"/>
              <a:gd name="connsiteY5" fmla="*/ 2286000 h 4562475"/>
              <a:gd name="connsiteX6" fmla="*/ 0 w 4462921"/>
              <a:gd name="connsiteY6" fmla="*/ 1016000 h 4562475"/>
              <a:gd name="connsiteX7" fmla="*/ 0 w 4462921"/>
              <a:gd name="connsiteY7" fmla="*/ 0 h 4562475"/>
              <a:gd name="connsiteX0" fmla="*/ 2486 w 4465407"/>
              <a:gd name="connsiteY0" fmla="*/ 0 h 4564856"/>
              <a:gd name="connsiteX1" fmla="*/ 4464948 w 4465407"/>
              <a:gd name="connsiteY1" fmla="*/ 1819275 h 4564856"/>
              <a:gd name="connsiteX2" fmla="*/ 4464949 w 4465407"/>
              <a:gd name="connsiteY2" fmla="*/ 2747962 h 4564856"/>
              <a:gd name="connsiteX3" fmla="*/ 105 w 4465407"/>
              <a:gd name="connsiteY3" fmla="*/ 4564856 h 4564856"/>
              <a:gd name="connsiteX4" fmla="*/ 2486 w 4465407"/>
              <a:gd name="connsiteY4" fmla="*/ 3543300 h 4564856"/>
              <a:gd name="connsiteX5" fmla="*/ 3278293 w 4465407"/>
              <a:gd name="connsiteY5" fmla="*/ 2286000 h 4564856"/>
              <a:gd name="connsiteX6" fmla="*/ 2486 w 4465407"/>
              <a:gd name="connsiteY6" fmla="*/ 1016000 h 4564856"/>
              <a:gd name="connsiteX7" fmla="*/ 2486 w 4465407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47962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50343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55106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8417 w 4467453"/>
              <a:gd name="connsiteY5" fmla="*/ 2286000 h 4564856"/>
              <a:gd name="connsiteX6" fmla="*/ 2610 w 4467453"/>
              <a:gd name="connsiteY6" fmla="*/ 1016000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8417 w 4467453"/>
              <a:gd name="connsiteY5" fmla="*/ 2286000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1273 w 4467453"/>
              <a:gd name="connsiteY5" fmla="*/ 2288382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1273 w 4467453"/>
              <a:gd name="connsiteY5" fmla="*/ 2288382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9275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0763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0763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3145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64129 w 4465530"/>
              <a:gd name="connsiteY5" fmla="*/ 2288382 h 4564856"/>
              <a:gd name="connsiteX6" fmla="*/ 2610 w 4465530"/>
              <a:gd name="connsiteY6" fmla="*/ 1023145 h 4564856"/>
              <a:gd name="connsiteX7" fmla="*/ 2610 w 4465530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5066 w 4467986"/>
              <a:gd name="connsiteY6" fmla="*/ 1023145 h 4564856"/>
              <a:gd name="connsiteX7" fmla="*/ 0 w 4467986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2533 w 4467986"/>
              <a:gd name="connsiteY6" fmla="*/ 1018079 h 4564856"/>
              <a:gd name="connsiteX7" fmla="*/ 0 w 4467986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2533 w 4467986"/>
              <a:gd name="connsiteY6" fmla="*/ 1023145 h 4564856"/>
              <a:gd name="connsiteX7" fmla="*/ 0 w 4467986"/>
              <a:gd name="connsiteY7" fmla="*/ 0 h 4564856"/>
              <a:gd name="connsiteX0" fmla="*/ 0 w 4467986"/>
              <a:gd name="connsiteY0" fmla="*/ 0 h 4567262"/>
              <a:gd name="connsiteX1" fmla="*/ 4467527 w 4467986"/>
              <a:gd name="connsiteY1" fmla="*/ 1814537 h 4567262"/>
              <a:gd name="connsiteX2" fmla="*/ 4467529 w 4467986"/>
              <a:gd name="connsiteY2" fmla="*/ 2757512 h 4567262"/>
              <a:gd name="connsiteX3" fmla="*/ 2685 w 4467986"/>
              <a:gd name="connsiteY3" fmla="*/ 4567262 h 4567262"/>
              <a:gd name="connsiteX4" fmla="*/ 2684 w 4467986"/>
              <a:gd name="connsiteY4" fmla="*/ 3548087 h 4567262"/>
              <a:gd name="connsiteX5" fmla="*/ 3266585 w 4467986"/>
              <a:gd name="connsiteY5" fmla="*/ 2290788 h 4567262"/>
              <a:gd name="connsiteX6" fmla="*/ 2533 w 4467986"/>
              <a:gd name="connsiteY6" fmla="*/ 1025551 h 4567262"/>
              <a:gd name="connsiteX7" fmla="*/ 0 w 4467986"/>
              <a:gd name="connsiteY7" fmla="*/ 0 h 4567262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50493 h 4569668"/>
              <a:gd name="connsiteX5" fmla="*/ 3264555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48111 h 4569668"/>
              <a:gd name="connsiteX5" fmla="*/ 3264555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48111 h 4569668"/>
              <a:gd name="connsiteX5" fmla="*/ 3257411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65956" h="4569668">
                <a:moveTo>
                  <a:pt x="377" y="0"/>
                </a:moveTo>
                <a:lnTo>
                  <a:pt x="4465497" y="1816943"/>
                </a:lnTo>
                <a:cubicBezTo>
                  <a:pt x="4463910" y="2124918"/>
                  <a:pt x="4467086" y="2451943"/>
                  <a:pt x="4465499" y="2759918"/>
                </a:cubicBezTo>
                <a:lnTo>
                  <a:pt x="655" y="4569668"/>
                </a:lnTo>
                <a:cubicBezTo>
                  <a:pt x="-139" y="4230737"/>
                  <a:pt x="1448" y="3887042"/>
                  <a:pt x="654" y="3548111"/>
                </a:cubicBezTo>
                <a:lnTo>
                  <a:pt x="3257411" y="2293194"/>
                </a:lnTo>
                <a:lnTo>
                  <a:pt x="503" y="1027957"/>
                </a:lnTo>
                <a:cubicBezTo>
                  <a:pt x="-1186" y="686909"/>
                  <a:pt x="2066" y="341048"/>
                  <a:pt x="377" y="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sz="1662" dirty="0">
              <a:solidFill>
                <a:srgbClr val="FF0000"/>
              </a:solidFill>
              <a:latin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22949075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18" y="332077"/>
            <a:ext cx="11491383" cy="4238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8308437" y="1766027"/>
            <a:ext cx="353568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326728" y="1766027"/>
            <a:ext cx="353568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45019" y="1766027"/>
            <a:ext cx="353568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45018" y="755904"/>
            <a:ext cx="11491383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20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9265534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E9587A2-3EFA-4FDF-89E2-580CFA5B04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3E52560-5576-4F41-B333-07DC52564B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28C16AC-05DA-498F-AB1D-404AB19058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1AB-7A83-47F0-BFD0-16B7F12C31FD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2018/12/26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2D1D93E-322C-4895-8A6A-4C848BA997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8AB8CB4-6ACD-4EF5-B8C7-37E0F19D8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CFB6-3FE5-4195-966D-31B0EA720168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242642693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1D43E76-ED67-4AF6-A4D2-C2CC5CE839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D4A5B5A-2AD2-491A-A69B-F6EAE62D0F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5FBEAAB-A24A-44A5-BD7B-B5AE75F20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1AB-7A83-47F0-BFD0-16B7F12C31FD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2018/12/26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3BDE549-22F3-445F-B355-7E7CF1C6B8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B24D71D-F9BC-4DF0-8F62-C959F1B97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CFB6-3FE5-4195-966D-31B0EA720168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1174998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D2BCA7E-56B5-4A06-93E6-059EBFBE93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5F97280-F1C8-496D-86EC-0885019B09A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FB99F86-43D7-4A05-A6E4-EFED312F81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816FE476-6B3A-41D9-8CBB-12CB91EBD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1AB-7A83-47F0-BFD0-16B7F12C31FD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2018/12/26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A7C8202-4841-4109-9E2F-BBECF10E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E7D8B3C-8EA7-4152-A63D-8B5BCEBEFB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CFB6-3FE5-4195-966D-31B0EA720168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43349558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4D02865-AD31-4E4D-B5FA-B59739E41A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39F03F5-3BBF-4585-A646-38640F8946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700296C-2990-40CA-B4D9-A5BBFF3977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A92733D6-3B79-4B09-89C1-8EF40F3BBC2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11335ABB-2AE1-42DD-9C26-C624C23DBA2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AB5A6E76-4E0A-4974-88A2-0C158379A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1AB-7A83-47F0-BFD0-16B7F12C31FD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2018/12/26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99ADF334-0E9A-4D19-8711-1AC61C947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2950834D-B8FF-4915-9CAC-CF3F3A7F2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CFB6-3FE5-4195-966D-31B0EA720168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71134411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42F7E25-1F1A-4D0D-A1CB-E89D78653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A26411F-3A4B-4163-B0CA-E4DA056FCC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1AB-7A83-47F0-BFD0-16B7F12C31FD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2018/12/26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6B26D92-685D-4AC7-B409-AF5B66388D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7F59C449-153A-45DE-846A-B5D743C5F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CFB6-3FE5-4195-966D-31B0EA720168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24420146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5300BC7B-A753-4B2D-A3C3-5D687B392C44}"/>
              </a:ext>
            </a:extLst>
          </p:cNvPr>
          <p:cNvSpPr txBox="1">
            <a:spLocks/>
          </p:cNvSpPr>
          <p:nvPr userDrawn="1"/>
        </p:nvSpPr>
        <p:spPr>
          <a:xfrm>
            <a:off x="143457" y="6620421"/>
            <a:ext cx="5412319" cy="128588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919191"/>
                </a:solidFill>
                <a:latin typeface="等线"/>
              </a:rPr>
              <a:t>Copyright © 201</a:t>
            </a:r>
            <a:r>
              <a:rPr lang="en-US" altLang="zh-CN" dirty="0">
                <a:solidFill>
                  <a:srgbClr val="919191"/>
                </a:solidFill>
                <a:latin typeface="等线"/>
                <a:ea typeface="等线"/>
              </a:rPr>
              <a:t>8</a:t>
            </a:r>
            <a:r>
              <a:rPr lang="en-US" dirty="0">
                <a:solidFill>
                  <a:srgbClr val="919191"/>
                </a:solidFill>
                <a:latin typeface="等线"/>
              </a:rPr>
              <a:t> Accenture  All rights reserved.</a:t>
            </a:r>
          </a:p>
        </p:txBody>
      </p:sp>
      <p:sp>
        <p:nvSpPr>
          <p:cNvPr id="8" name="Line 5">
            <a:extLst>
              <a:ext uri="{FF2B5EF4-FFF2-40B4-BE49-F238E27FC236}">
                <a16:creationId xmlns:a16="http://schemas.microsoft.com/office/drawing/2014/main" id="{B286D4F0-FCEE-4B8E-B134-3F4D4BB1483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55600" y="1117600"/>
            <a:ext cx="11468420" cy="1269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>
              <a:solidFill>
                <a:prstClr val="black"/>
              </a:solidFill>
              <a:latin typeface="等线"/>
              <a:ea typeface="宋体" pitchFamily="2" charset="-122"/>
            </a:endParaRP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451C8D94-3CB9-407A-B8B6-33E5AB88C8D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809256" y="526008"/>
            <a:ext cx="2014764" cy="385317"/>
          </a:xfrm>
          <a:custGeom>
            <a:avLst/>
            <a:gdLst>
              <a:gd name="T0" fmla="*/ 35 w 765"/>
              <a:gd name="T1" fmla="*/ 118 h 135"/>
              <a:gd name="T2" fmla="*/ 56 w 765"/>
              <a:gd name="T3" fmla="*/ 88 h 135"/>
              <a:gd name="T4" fmla="*/ 78 w 765"/>
              <a:gd name="T5" fmla="*/ 62 h 135"/>
              <a:gd name="T6" fmla="*/ 4 w 765"/>
              <a:gd name="T7" fmla="*/ 62 h 135"/>
              <a:gd name="T8" fmla="*/ 42 w 765"/>
              <a:gd name="T9" fmla="*/ 47 h 135"/>
              <a:gd name="T10" fmla="*/ 56 w 765"/>
              <a:gd name="T11" fmla="*/ 75 h 135"/>
              <a:gd name="T12" fmla="*/ 30 w 765"/>
              <a:gd name="T13" fmla="*/ 135 h 135"/>
              <a:gd name="T14" fmla="*/ 56 w 765"/>
              <a:gd name="T15" fmla="*/ 121 h 135"/>
              <a:gd name="T16" fmla="*/ 78 w 765"/>
              <a:gd name="T17" fmla="*/ 132 h 135"/>
              <a:gd name="T18" fmla="*/ 132 w 765"/>
              <a:gd name="T19" fmla="*/ 47 h 135"/>
              <a:gd name="T20" fmla="*/ 154 w 765"/>
              <a:gd name="T21" fmla="*/ 118 h 135"/>
              <a:gd name="T22" fmla="*/ 171 w 765"/>
              <a:gd name="T23" fmla="*/ 130 h 135"/>
              <a:gd name="T24" fmla="*/ 88 w 765"/>
              <a:gd name="T25" fmla="*/ 78 h 135"/>
              <a:gd name="T26" fmla="*/ 172 w 765"/>
              <a:gd name="T27" fmla="*/ 67 h 135"/>
              <a:gd name="T28" fmla="*/ 236 w 765"/>
              <a:gd name="T29" fmla="*/ 67 h 135"/>
              <a:gd name="T30" fmla="*/ 202 w 765"/>
              <a:gd name="T31" fmla="*/ 74 h 135"/>
              <a:gd name="T32" fmla="*/ 260 w 765"/>
              <a:gd name="T33" fmla="*/ 116 h 135"/>
              <a:gd name="T34" fmla="*/ 231 w 765"/>
              <a:gd name="T35" fmla="*/ 135 h 135"/>
              <a:gd name="T36" fmla="*/ 223 w 765"/>
              <a:gd name="T37" fmla="*/ 31 h 135"/>
              <a:gd name="T38" fmla="*/ 236 w 765"/>
              <a:gd name="T39" fmla="*/ 67 h 135"/>
              <a:gd name="T40" fmla="*/ 291 w 765"/>
              <a:gd name="T41" fmla="*/ 63 h 135"/>
              <a:gd name="T42" fmla="*/ 327 w 765"/>
              <a:gd name="T43" fmla="*/ 63 h 135"/>
              <a:gd name="T44" fmla="*/ 349 w 765"/>
              <a:gd name="T45" fmla="*/ 71 h 135"/>
              <a:gd name="T46" fmla="*/ 269 w 765"/>
              <a:gd name="T47" fmla="*/ 77 h 135"/>
              <a:gd name="T48" fmla="*/ 347 w 765"/>
              <a:gd name="T49" fmla="*/ 131 h 135"/>
              <a:gd name="T50" fmla="*/ 328 w 765"/>
              <a:gd name="T51" fmla="*/ 118 h 135"/>
              <a:gd name="T52" fmla="*/ 349 w 765"/>
              <a:gd name="T53" fmla="*/ 77 h 135"/>
              <a:gd name="T54" fmla="*/ 418 w 765"/>
              <a:gd name="T55" fmla="*/ 76 h 135"/>
              <a:gd name="T56" fmla="*/ 408 w 765"/>
              <a:gd name="T57" fmla="*/ 52 h 135"/>
              <a:gd name="T58" fmla="*/ 384 w 765"/>
              <a:gd name="T59" fmla="*/ 132 h 135"/>
              <a:gd name="T60" fmla="*/ 361 w 765"/>
              <a:gd name="T61" fmla="*/ 33 h 135"/>
              <a:gd name="T62" fmla="*/ 384 w 765"/>
              <a:gd name="T63" fmla="*/ 51 h 135"/>
              <a:gd name="T64" fmla="*/ 414 w 765"/>
              <a:gd name="T65" fmla="*/ 31 h 135"/>
              <a:gd name="T66" fmla="*/ 441 w 765"/>
              <a:gd name="T67" fmla="*/ 132 h 135"/>
              <a:gd name="T68" fmla="*/ 489 w 765"/>
              <a:gd name="T69" fmla="*/ 49 h 135"/>
              <a:gd name="T70" fmla="*/ 505 w 765"/>
              <a:gd name="T71" fmla="*/ 118 h 135"/>
              <a:gd name="T72" fmla="*/ 516 w 765"/>
              <a:gd name="T73" fmla="*/ 133 h 135"/>
              <a:gd name="T74" fmla="*/ 466 w 765"/>
              <a:gd name="T75" fmla="*/ 107 h 135"/>
              <a:gd name="T76" fmla="*/ 447 w 765"/>
              <a:gd name="T77" fmla="*/ 49 h 135"/>
              <a:gd name="T78" fmla="*/ 466 w 765"/>
              <a:gd name="T79" fmla="*/ 33 h 135"/>
              <a:gd name="T80" fmla="*/ 489 w 765"/>
              <a:gd name="T81" fmla="*/ 0 h 135"/>
              <a:gd name="T82" fmla="*/ 519 w 765"/>
              <a:gd name="T83" fmla="*/ 33 h 135"/>
              <a:gd name="T84" fmla="*/ 489 w 765"/>
              <a:gd name="T85" fmla="*/ 49 h 135"/>
              <a:gd name="T86" fmla="*/ 586 w 765"/>
              <a:gd name="T87" fmla="*/ 114 h 135"/>
              <a:gd name="T88" fmla="*/ 556 w 765"/>
              <a:gd name="T89" fmla="*/ 135 h 135"/>
              <a:gd name="T90" fmla="*/ 529 w 765"/>
              <a:gd name="T91" fmla="*/ 33 h 135"/>
              <a:gd name="T92" fmla="*/ 552 w 765"/>
              <a:gd name="T93" fmla="*/ 90 h 135"/>
              <a:gd name="T94" fmla="*/ 563 w 765"/>
              <a:gd name="T95" fmla="*/ 113 h 135"/>
              <a:gd name="T96" fmla="*/ 586 w 765"/>
              <a:gd name="T97" fmla="*/ 33 h 135"/>
              <a:gd name="T98" fmla="*/ 609 w 765"/>
              <a:gd name="T99" fmla="*/ 132 h 135"/>
              <a:gd name="T100" fmla="*/ 647 w 765"/>
              <a:gd name="T101" fmla="*/ 89 h 135"/>
              <a:gd name="T102" fmla="*/ 624 w 765"/>
              <a:gd name="T103" fmla="*/ 132 h 135"/>
              <a:gd name="T104" fmla="*/ 647 w 765"/>
              <a:gd name="T105" fmla="*/ 33 h 135"/>
              <a:gd name="T106" fmla="*/ 648 w 765"/>
              <a:gd name="T107" fmla="*/ 51 h 135"/>
              <a:gd name="T108" fmla="*/ 680 w 765"/>
              <a:gd name="T109" fmla="*/ 55 h 135"/>
              <a:gd name="T110" fmla="*/ 743 w 765"/>
              <a:gd name="T111" fmla="*/ 63 h 135"/>
              <a:gd name="T112" fmla="*/ 726 w 765"/>
              <a:gd name="T113" fmla="*/ 45 h 135"/>
              <a:gd name="T114" fmla="*/ 765 w 765"/>
              <a:gd name="T115" fmla="*/ 77 h 135"/>
              <a:gd name="T116" fmla="*/ 727 w 765"/>
              <a:gd name="T117" fmla="*/ 31 h 135"/>
              <a:gd name="T118" fmla="*/ 735 w 765"/>
              <a:gd name="T119" fmla="*/ 135 h 135"/>
              <a:gd name="T120" fmla="*/ 763 w 765"/>
              <a:gd name="T121" fmla="*/ 115 h 135"/>
              <a:gd name="T122" fmla="*/ 706 w 765"/>
              <a:gd name="T123" fmla="*/ 77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65" h="135">
                <a:moveTo>
                  <a:pt x="56" y="88"/>
                </a:moveTo>
                <a:cubicBezTo>
                  <a:pt x="56" y="101"/>
                  <a:pt x="51" y="118"/>
                  <a:pt x="35" y="118"/>
                </a:cubicBezTo>
                <a:cubicBezTo>
                  <a:pt x="28" y="118"/>
                  <a:pt x="23" y="114"/>
                  <a:pt x="23" y="106"/>
                </a:cubicBezTo>
                <a:cubicBezTo>
                  <a:pt x="23" y="91"/>
                  <a:pt x="45" y="88"/>
                  <a:pt x="56" y="88"/>
                </a:cubicBezTo>
                <a:close/>
                <a:moveTo>
                  <a:pt x="78" y="132"/>
                </a:moveTo>
                <a:cubicBezTo>
                  <a:pt x="78" y="62"/>
                  <a:pt x="78" y="62"/>
                  <a:pt x="78" y="62"/>
                </a:cubicBezTo>
                <a:cubicBezTo>
                  <a:pt x="78" y="38"/>
                  <a:pt x="63" y="31"/>
                  <a:pt x="42" y="31"/>
                </a:cubicBezTo>
                <a:cubicBezTo>
                  <a:pt x="21" y="31"/>
                  <a:pt x="4" y="39"/>
                  <a:pt x="4" y="62"/>
                </a:cubicBezTo>
                <a:cubicBezTo>
                  <a:pt x="27" y="62"/>
                  <a:pt x="27" y="62"/>
                  <a:pt x="27" y="62"/>
                </a:cubicBezTo>
                <a:cubicBezTo>
                  <a:pt x="27" y="52"/>
                  <a:pt x="32" y="47"/>
                  <a:pt x="42" y="47"/>
                </a:cubicBezTo>
                <a:cubicBezTo>
                  <a:pt x="53" y="47"/>
                  <a:pt x="56" y="55"/>
                  <a:pt x="56" y="65"/>
                </a:cubicBezTo>
                <a:cubicBezTo>
                  <a:pt x="56" y="75"/>
                  <a:pt x="56" y="75"/>
                  <a:pt x="56" y="75"/>
                </a:cubicBezTo>
                <a:cubicBezTo>
                  <a:pt x="33" y="76"/>
                  <a:pt x="0" y="79"/>
                  <a:pt x="0" y="109"/>
                </a:cubicBezTo>
                <a:cubicBezTo>
                  <a:pt x="0" y="125"/>
                  <a:pt x="14" y="135"/>
                  <a:pt x="30" y="135"/>
                </a:cubicBezTo>
                <a:cubicBezTo>
                  <a:pt x="41" y="135"/>
                  <a:pt x="51" y="131"/>
                  <a:pt x="56" y="121"/>
                </a:cubicBezTo>
                <a:cubicBezTo>
                  <a:pt x="56" y="121"/>
                  <a:pt x="56" y="121"/>
                  <a:pt x="56" y="121"/>
                </a:cubicBezTo>
                <a:cubicBezTo>
                  <a:pt x="56" y="132"/>
                  <a:pt x="56" y="132"/>
                  <a:pt x="56" y="132"/>
                </a:cubicBezTo>
                <a:lnTo>
                  <a:pt x="78" y="132"/>
                </a:lnTo>
                <a:close/>
                <a:moveTo>
                  <a:pt x="147" y="67"/>
                </a:moveTo>
                <a:cubicBezTo>
                  <a:pt x="147" y="57"/>
                  <a:pt x="144" y="47"/>
                  <a:pt x="132" y="47"/>
                </a:cubicBezTo>
                <a:cubicBezTo>
                  <a:pt x="117" y="47"/>
                  <a:pt x="113" y="62"/>
                  <a:pt x="113" y="74"/>
                </a:cubicBezTo>
                <a:cubicBezTo>
                  <a:pt x="113" y="99"/>
                  <a:pt x="128" y="118"/>
                  <a:pt x="154" y="118"/>
                </a:cubicBezTo>
                <a:cubicBezTo>
                  <a:pt x="160" y="118"/>
                  <a:pt x="165" y="118"/>
                  <a:pt x="171" y="116"/>
                </a:cubicBezTo>
                <a:cubicBezTo>
                  <a:pt x="171" y="130"/>
                  <a:pt x="171" y="130"/>
                  <a:pt x="171" y="130"/>
                </a:cubicBezTo>
                <a:cubicBezTo>
                  <a:pt x="161" y="133"/>
                  <a:pt x="151" y="135"/>
                  <a:pt x="142" y="135"/>
                </a:cubicBezTo>
                <a:cubicBezTo>
                  <a:pt x="106" y="135"/>
                  <a:pt x="88" y="113"/>
                  <a:pt x="88" y="78"/>
                </a:cubicBezTo>
                <a:cubicBezTo>
                  <a:pt x="88" y="49"/>
                  <a:pt x="104" y="31"/>
                  <a:pt x="134" y="31"/>
                </a:cubicBezTo>
                <a:cubicBezTo>
                  <a:pt x="158" y="31"/>
                  <a:pt x="172" y="42"/>
                  <a:pt x="172" y="67"/>
                </a:cubicBezTo>
                <a:lnTo>
                  <a:pt x="147" y="67"/>
                </a:lnTo>
                <a:close/>
                <a:moveTo>
                  <a:pt x="236" y="67"/>
                </a:moveTo>
                <a:cubicBezTo>
                  <a:pt x="236" y="57"/>
                  <a:pt x="233" y="47"/>
                  <a:pt x="221" y="47"/>
                </a:cubicBezTo>
                <a:cubicBezTo>
                  <a:pt x="206" y="47"/>
                  <a:pt x="202" y="62"/>
                  <a:pt x="202" y="74"/>
                </a:cubicBezTo>
                <a:cubicBezTo>
                  <a:pt x="202" y="99"/>
                  <a:pt x="217" y="118"/>
                  <a:pt x="243" y="118"/>
                </a:cubicBezTo>
                <a:cubicBezTo>
                  <a:pt x="249" y="118"/>
                  <a:pt x="254" y="118"/>
                  <a:pt x="260" y="116"/>
                </a:cubicBezTo>
                <a:cubicBezTo>
                  <a:pt x="260" y="130"/>
                  <a:pt x="260" y="130"/>
                  <a:pt x="260" y="130"/>
                </a:cubicBezTo>
                <a:cubicBezTo>
                  <a:pt x="250" y="133"/>
                  <a:pt x="241" y="135"/>
                  <a:pt x="231" y="135"/>
                </a:cubicBezTo>
                <a:cubicBezTo>
                  <a:pt x="195" y="135"/>
                  <a:pt x="177" y="113"/>
                  <a:pt x="177" y="78"/>
                </a:cubicBezTo>
                <a:cubicBezTo>
                  <a:pt x="177" y="49"/>
                  <a:pt x="193" y="31"/>
                  <a:pt x="223" y="31"/>
                </a:cubicBezTo>
                <a:cubicBezTo>
                  <a:pt x="247" y="31"/>
                  <a:pt x="261" y="42"/>
                  <a:pt x="261" y="67"/>
                </a:cubicBezTo>
                <a:lnTo>
                  <a:pt x="236" y="67"/>
                </a:lnTo>
                <a:close/>
                <a:moveTo>
                  <a:pt x="327" y="63"/>
                </a:moveTo>
                <a:cubicBezTo>
                  <a:pt x="291" y="63"/>
                  <a:pt x="291" y="63"/>
                  <a:pt x="291" y="63"/>
                </a:cubicBezTo>
                <a:cubicBezTo>
                  <a:pt x="292" y="53"/>
                  <a:pt x="300" y="45"/>
                  <a:pt x="310" y="45"/>
                </a:cubicBezTo>
                <a:cubicBezTo>
                  <a:pt x="320" y="45"/>
                  <a:pt x="327" y="52"/>
                  <a:pt x="327" y="63"/>
                </a:cubicBezTo>
                <a:close/>
                <a:moveTo>
                  <a:pt x="349" y="77"/>
                </a:moveTo>
                <a:cubicBezTo>
                  <a:pt x="349" y="71"/>
                  <a:pt x="349" y="71"/>
                  <a:pt x="349" y="71"/>
                </a:cubicBezTo>
                <a:cubicBezTo>
                  <a:pt x="349" y="47"/>
                  <a:pt x="337" y="31"/>
                  <a:pt x="311" y="31"/>
                </a:cubicBezTo>
                <a:cubicBezTo>
                  <a:pt x="282" y="31"/>
                  <a:pt x="269" y="49"/>
                  <a:pt x="269" y="77"/>
                </a:cubicBezTo>
                <a:cubicBezTo>
                  <a:pt x="269" y="110"/>
                  <a:pt x="283" y="135"/>
                  <a:pt x="319" y="135"/>
                </a:cubicBezTo>
                <a:cubicBezTo>
                  <a:pt x="328" y="135"/>
                  <a:pt x="338" y="134"/>
                  <a:pt x="347" y="131"/>
                </a:cubicBezTo>
                <a:cubicBezTo>
                  <a:pt x="347" y="115"/>
                  <a:pt x="347" y="115"/>
                  <a:pt x="347" y="115"/>
                </a:cubicBezTo>
                <a:cubicBezTo>
                  <a:pt x="341" y="117"/>
                  <a:pt x="334" y="118"/>
                  <a:pt x="328" y="118"/>
                </a:cubicBezTo>
                <a:cubicBezTo>
                  <a:pt x="305" y="118"/>
                  <a:pt x="290" y="98"/>
                  <a:pt x="290" y="77"/>
                </a:cubicBezTo>
                <a:lnTo>
                  <a:pt x="349" y="77"/>
                </a:lnTo>
                <a:close/>
                <a:moveTo>
                  <a:pt x="418" y="132"/>
                </a:moveTo>
                <a:cubicBezTo>
                  <a:pt x="418" y="76"/>
                  <a:pt x="418" y="76"/>
                  <a:pt x="418" y="76"/>
                </a:cubicBezTo>
                <a:cubicBezTo>
                  <a:pt x="418" y="71"/>
                  <a:pt x="418" y="58"/>
                  <a:pt x="414" y="54"/>
                </a:cubicBezTo>
                <a:cubicBezTo>
                  <a:pt x="413" y="53"/>
                  <a:pt x="410" y="52"/>
                  <a:pt x="408" y="52"/>
                </a:cubicBezTo>
                <a:cubicBezTo>
                  <a:pt x="391" y="52"/>
                  <a:pt x="384" y="76"/>
                  <a:pt x="384" y="89"/>
                </a:cubicBezTo>
                <a:cubicBezTo>
                  <a:pt x="384" y="132"/>
                  <a:pt x="384" y="132"/>
                  <a:pt x="384" y="132"/>
                </a:cubicBezTo>
                <a:cubicBezTo>
                  <a:pt x="361" y="132"/>
                  <a:pt x="361" y="132"/>
                  <a:pt x="361" y="132"/>
                </a:cubicBezTo>
                <a:cubicBezTo>
                  <a:pt x="361" y="33"/>
                  <a:pt x="361" y="33"/>
                  <a:pt x="361" y="33"/>
                </a:cubicBezTo>
                <a:cubicBezTo>
                  <a:pt x="384" y="33"/>
                  <a:pt x="384" y="33"/>
                  <a:pt x="384" y="33"/>
                </a:cubicBezTo>
                <a:cubicBezTo>
                  <a:pt x="384" y="51"/>
                  <a:pt x="384" y="51"/>
                  <a:pt x="384" y="51"/>
                </a:cubicBezTo>
                <a:cubicBezTo>
                  <a:pt x="385" y="51"/>
                  <a:pt x="385" y="51"/>
                  <a:pt x="385" y="51"/>
                </a:cubicBezTo>
                <a:cubicBezTo>
                  <a:pt x="390" y="39"/>
                  <a:pt x="400" y="31"/>
                  <a:pt x="414" y="31"/>
                </a:cubicBezTo>
                <a:cubicBezTo>
                  <a:pt x="433" y="31"/>
                  <a:pt x="441" y="46"/>
                  <a:pt x="441" y="63"/>
                </a:cubicBezTo>
                <a:cubicBezTo>
                  <a:pt x="441" y="132"/>
                  <a:pt x="441" y="132"/>
                  <a:pt x="441" y="132"/>
                </a:cubicBezTo>
                <a:lnTo>
                  <a:pt x="418" y="132"/>
                </a:lnTo>
                <a:close/>
                <a:moveTo>
                  <a:pt x="489" y="49"/>
                </a:moveTo>
                <a:cubicBezTo>
                  <a:pt x="489" y="96"/>
                  <a:pt x="489" y="96"/>
                  <a:pt x="489" y="96"/>
                </a:cubicBezTo>
                <a:cubicBezTo>
                  <a:pt x="489" y="108"/>
                  <a:pt x="491" y="118"/>
                  <a:pt x="505" y="118"/>
                </a:cubicBezTo>
                <a:cubicBezTo>
                  <a:pt x="509" y="118"/>
                  <a:pt x="512" y="118"/>
                  <a:pt x="516" y="117"/>
                </a:cubicBezTo>
                <a:cubicBezTo>
                  <a:pt x="516" y="133"/>
                  <a:pt x="516" y="133"/>
                  <a:pt x="516" y="133"/>
                </a:cubicBezTo>
                <a:cubicBezTo>
                  <a:pt x="510" y="134"/>
                  <a:pt x="503" y="135"/>
                  <a:pt x="497" y="135"/>
                </a:cubicBezTo>
                <a:cubicBezTo>
                  <a:pt x="477" y="135"/>
                  <a:pt x="466" y="128"/>
                  <a:pt x="466" y="107"/>
                </a:cubicBezTo>
                <a:cubicBezTo>
                  <a:pt x="466" y="49"/>
                  <a:pt x="466" y="49"/>
                  <a:pt x="466" y="49"/>
                </a:cubicBezTo>
                <a:cubicBezTo>
                  <a:pt x="447" y="49"/>
                  <a:pt x="447" y="49"/>
                  <a:pt x="447" y="49"/>
                </a:cubicBezTo>
                <a:cubicBezTo>
                  <a:pt x="447" y="33"/>
                  <a:pt x="447" y="33"/>
                  <a:pt x="447" y="33"/>
                </a:cubicBezTo>
                <a:cubicBezTo>
                  <a:pt x="466" y="33"/>
                  <a:pt x="466" y="33"/>
                  <a:pt x="466" y="33"/>
                </a:cubicBezTo>
                <a:cubicBezTo>
                  <a:pt x="466" y="9"/>
                  <a:pt x="466" y="9"/>
                  <a:pt x="466" y="9"/>
                </a:cubicBezTo>
                <a:cubicBezTo>
                  <a:pt x="489" y="0"/>
                  <a:pt x="489" y="0"/>
                  <a:pt x="489" y="0"/>
                </a:cubicBezTo>
                <a:cubicBezTo>
                  <a:pt x="489" y="33"/>
                  <a:pt x="489" y="33"/>
                  <a:pt x="489" y="33"/>
                </a:cubicBezTo>
                <a:cubicBezTo>
                  <a:pt x="519" y="33"/>
                  <a:pt x="519" y="33"/>
                  <a:pt x="519" y="33"/>
                </a:cubicBezTo>
                <a:cubicBezTo>
                  <a:pt x="519" y="49"/>
                  <a:pt x="519" y="49"/>
                  <a:pt x="519" y="49"/>
                </a:cubicBezTo>
                <a:lnTo>
                  <a:pt x="489" y="49"/>
                </a:lnTo>
                <a:close/>
                <a:moveTo>
                  <a:pt x="586" y="132"/>
                </a:moveTo>
                <a:cubicBezTo>
                  <a:pt x="586" y="114"/>
                  <a:pt x="586" y="114"/>
                  <a:pt x="586" y="114"/>
                </a:cubicBezTo>
                <a:cubicBezTo>
                  <a:pt x="586" y="114"/>
                  <a:pt x="586" y="114"/>
                  <a:pt x="586" y="114"/>
                </a:cubicBezTo>
                <a:cubicBezTo>
                  <a:pt x="580" y="126"/>
                  <a:pt x="570" y="135"/>
                  <a:pt x="556" y="135"/>
                </a:cubicBezTo>
                <a:cubicBezTo>
                  <a:pt x="537" y="135"/>
                  <a:pt x="529" y="119"/>
                  <a:pt x="529" y="102"/>
                </a:cubicBezTo>
                <a:cubicBezTo>
                  <a:pt x="529" y="33"/>
                  <a:pt x="529" y="33"/>
                  <a:pt x="529" y="33"/>
                </a:cubicBezTo>
                <a:cubicBezTo>
                  <a:pt x="552" y="33"/>
                  <a:pt x="552" y="33"/>
                  <a:pt x="552" y="33"/>
                </a:cubicBezTo>
                <a:cubicBezTo>
                  <a:pt x="552" y="90"/>
                  <a:pt x="552" y="90"/>
                  <a:pt x="552" y="90"/>
                </a:cubicBezTo>
                <a:cubicBezTo>
                  <a:pt x="552" y="95"/>
                  <a:pt x="552" y="107"/>
                  <a:pt x="556" y="111"/>
                </a:cubicBezTo>
                <a:cubicBezTo>
                  <a:pt x="558" y="113"/>
                  <a:pt x="560" y="113"/>
                  <a:pt x="563" y="113"/>
                </a:cubicBezTo>
                <a:cubicBezTo>
                  <a:pt x="579" y="113"/>
                  <a:pt x="586" y="89"/>
                  <a:pt x="586" y="76"/>
                </a:cubicBezTo>
                <a:cubicBezTo>
                  <a:pt x="586" y="33"/>
                  <a:pt x="586" y="33"/>
                  <a:pt x="586" y="33"/>
                </a:cubicBezTo>
                <a:cubicBezTo>
                  <a:pt x="609" y="33"/>
                  <a:pt x="609" y="33"/>
                  <a:pt x="609" y="33"/>
                </a:cubicBezTo>
                <a:cubicBezTo>
                  <a:pt x="609" y="132"/>
                  <a:pt x="609" y="132"/>
                  <a:pt x="609" y="132"/>
                </a:cubicBezTo>
                <a:lnTo>
                  <a:pt x="586" y="132"/>
                </a:lnTo>
                <a:close/>
                <a:moveTo>
                  <a:pt x="647" y="89"/>
                </a:moveTo>
                <a:cubicBezTo>
                  <a:pt x="647" y="132"/>
                  <a:pt x="647" y="132"/>
                  <a:pt x="647" y="132"/>
                </a:cubicBezTo>
                <a:cubicBezTo>
                  <a:pt x="624" y="132"/>
                  <a:pt x="624" y="132"/>
                  <a:pt x="624" y="132"/>
                </a:cubicBezTo>
                <a:cubicBezTo>
                  <a:pt x="624" y="33"/>
                  <a:pt x="624" y="33"/>
                  <a:pt x="624" y="33"/>
                </a:cubicBezTo>
                <a:cubicBezTo>
                  <a:pt x="647" y="33"/>
                  <a:pt x="647" y="33"/>
                  <a:pt x="647" y="33"/>
                </a:cubicBezTo>
                <a:cubicBezTo>
                  <a:pt x="647" y="51"/>
                  <a:pt x="647" y="51"/>
                  <a:pt x="647" y="51"/>
                </a:cubicBezTo>
                <a:cubicBezTo>
                  <a:pt x="648" y="51"/>
                  <a:pt x="648" y="51"/>
                  <a:pt x="648" y="51"/>
                </a:cubicBezTo>
                <a:cubicBezTo>
                  <a:pt x="655" y="37"/>
                  <a:pt x="663" y="31"/>
                  <a:pt x="680" y="31"/>
                </a:cubicBezTo>
                <a:cubicBezTo>
                  <a:pt x="680" y="55"/>
                  <a:pt x="680" y="55"/>
                  <a:pt x="680" y="55"/>
                </a:cubicBezTo>
                <a:cubicBezTo>
                  <a:pt x="656" y="55"/>
                  <a:pt x="647" y="65"/>
                  <a:pt x="647" y="89"/>
                </a:cubicBezTo>
                <a:close/>
                <a:moveTo>
                  <a:pt x="743" y="63"/>
                </a:moveTo>
                <a:cubicBezTo>
                  <a:pt x="707" y="63"/>
                  <a:pt x="707" y="63"/>
                  <a:pt x="707" y="63"/>
                </a:cubicBezTo>
                <a:cubicBezTo>
                  <a:pt x="708" y="53"/>
                  <a:pt x="715" y="45"/>
                  <a:pt x="726" y="45"/>
                </a:cubicBezTo>
                <a:cubicBezTo>
                  <a:pt x="736" y="45"/>
                  <a:pt x="743" y="52"/>
                  <a:pt x="743" y="63"/>
                </a:cubicBezTo>
                <a:close/>
                <a:moveTo>
                  <a:pt x="765" y="77"/>
                </a:moveTo>
                <a:cubicBezTo>
                  <a:pt x="765" y="71"/>
                  <a:pt x="765" y="71"/>
                  <a:pt x="765" y="71"/>
                </a:cubicBezTo>
                <a:cubicBezTo>
                  <a:pt x="765" y="47"/>
                  <a:pt x="753" y="31"/>
                  <a:pt x="727" y="31"/>
                </a:cubicBezTo>
                <a:cubicBezTo>
                  <a:pt x="698" y="31"/>
                  <a:pt x="685" y="49"/>
                  <a:pt x="685" y="77"/>
                </a:cubicBezTo>
                <a:cubicBezTo>
                  <a:pt x="685" y="110"/>
                  <a:pt x="699" y="135"/>
                  <a:pt x="735" y="135"/>
                </a:cubicBezTo>
                <a:cubicBezTo>
                  <a:pt x="744" y="135"/>
                  <a:pt x="754" y="134"/>
                  <a:pt x="763" y="131"/>
                </a:cubicBezTo>
                <a:cubicBezTo>
                  <a:pt x="763" y="115"/>
                  <a:pt x="763" y="115"/>
                  <a:pt x="763" y="115"/>
                </a:cubicBezTo>
                <a:cubicBezTo>
                  <a:pt x="757" y="117"/>
                  <a:pt x="750" y="118"/>
                  <a:pt x="744" y="118"/>
                </a:cubicBezTo>
                <a:cubicBezTo>
                  <a:pt x="721" y="118"/>
                  <a:pt x="706" y="98"/>
                  <a:pt x="706" y="77"/>
                </a:cubicBezTo>
                <a:lnTo>
                  <a:pt x="765" y="7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AU" sz="1400" dirty="0">
              <a:solidFill>
                <a:prstClr val="black"/>
              </a:solidFill>
              <a:latin typeface="等线"/>
              <a:cs typeface="Arial" charset="0"/>
            </a:endParaRPr>
          </a:p>
        </p:txBody>
      </p:sp>
      <p:sp>
        <p:nvSpPr>
          <p:cNvPr id="12" name="Freeform 18">
            <a:extLst>
              <a:ext uri="{FF2B5EF4-FFF2-40B4-BE49-F238E27FC236}">
                <a16:creationId xmlns:a16="http://schemas.microsoft.com/office/drawing/2014/main" id="{04D49D65-3510-48D1-A6BF-FA01EED51DB7}"/>
              </a:ext>
            </a:extLst>
          </p:cNvPr>
          <p:cNvSpPr/>
          <p:nvPr userDrawn="1"/>
        </p:nvSpPr>
        <p:spPr>
          <a:xfrm>
            <a:off x="10977111" y="268153"/>
            <a:ext cx="193957" cy="215132"/>
          </a:xfrm>
          <a:custGeom>
            <a:avLst/>
            <a:gdLst>
              <a:gd name="connsiteX0" fmla="*/ 0 w 4457700"/>
              <a:gd name="connsiteY0" fmla="*/ 0 h 4552950"/>
              <a:gd name="connsiteX1" fmla="*/ 4457700 w 4457700"/>
              <a:gd name="connsiteY1" fmla="*/ 1828800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57700"/>
              <a:gd name="connsiteY0" fmla="*/ 0 h 4552950"/>
              <a:gd name="connsiteX1" fmla="*/ 4457700 w 4457700"/>
              <a:gd name="connsiteY1" fmla="*/ 1824037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57700"/>
              <a:gd name="connsiteY0" fmla="*/ 0 h 4552950"/>
              <a:gd name="connsiteX1" fmla="*/ 4457700 w 4457700"/>
              <a:gd name="connsiteY1" fmla="*/ 1816893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62462"/>
              <a:gd name="connsiteY0" fmla="*/ 0 h 4552950"/>
              <a:gd name="connsiteX1" fmla="*/ 4462462 w 4462462"/>
              <a:gd name="connsiteY1" fmla="*/ 1819275 h 4552950"/>
              <a:gd name="connsiteX2" fmla="*/ 4457700 w 4462462"/>
              <a:gd name="connsiteY2" fmla="*/ 2743200 h 4552950"/>
              <a:gd name="connsiteX3" fmla="*/ 0 w 4462462"/>
              <a:gd name="connsiteY3" fmla="*/ 4552950 h 4552950"/>
              <a:gd name="connsiteX4" fmla="*/ 0 w 4462462"/>
              <a:gd name="connsiteY4" fmla="*/ 3543300 h 4552950"/>
              <a:gd name="connsiteX5" fmla="*/ 3282950 w 4462462"/>
              <a:gd name="connsiteY5" fmla="*/ 2286000 h 4552950"/>
              <a:gd name="connsiteX6" fmla="*/ 0 w 4462462"/>
              <a:gd name="connsiteY6" fmla="*/ 1016000 h 4552950"/>
              <a:gd name="connsiteX7" fmla="*/ 0 w 4462462"/>
              <a:gd name="connsiteY7" fmla="*/ 0 h 4552950"/>
              <a:gd name="connsiteX0" fmla="*/ 0 w 4462921"/>
              <a:gd name="connsiteY0" fmla="*/ 0 h 4552950"/>
              <a:gd name="connsiteX1" fmla="*/ 4462462 w 4462921"/>
              <a:gd name="connsiteY1" fmla="*/ 1819275 h 4552950"/>
              <a:gd name="connsiteX2" fmla="*/ 4462463 w 4462921"/>
              <a:gd name="connsiteY2" fmla="*/ 2747962 h 4552950"/>
              <a:gd name="connsiteX3" fmla="*/ 0 w 4462921"/>
              <a:gd name="connsiteY3" fmla="*/ 4552950 h 4552950"/>
              <a:gd name="connsiteX4" fmla="*/ 0 w 4462921"/>
              <a:gd name="connsiteY4" fmla="*/ 3543300 h 4552950"/>
              <a:gd name="connsiteX5" fmla="*/ 3282950 w 4462921"/>
              <a:gd name="connsiteY5" fmla="*/ 2286000 h 4552950"/>
              <a:gd name="connsiteX6" fmla="*/ 0 w 4462921"/>
              <a:gd name="connsiteY6" fmla="*/ 1016000 h 4552950"/>
              <a:gd name="connsiteX7" fmla="*/ 0 w 4462921"/>
              <a:gd name="connsiteY7" fmla="*/ 0 h 4552950"/>
              <a:gd name="connsiteX0" fmla="*/ 0 w 4462921"/>
              <a:gd name="connsiteY0" fmla="*/ 0 h 4552950"/>
              <a:gd name="connsiteX1" fmla="*/ 4462462 w 4462921"/>
              <a:gd name="connsiteY1" fmla="*/ 1819275 h 4552950"/>
              <a:gd name="connsiteX2" fmla="*/ 4462463 w 4462921"/>
              <a:gd name="connsiteY2" fmla="*/ 2747962 h 4552950"/>
              <a:gd name="connsiteX3" fmla="*/ 0 w 4462921"/>
              <a:gd name="connsiteY3" fmla="*/ 4552950 h 4552950"/>
              <a:gd name="connsiteX4" fmla="*/ 0 w 4462921"/>
              <a:gd name="connsiteY4" fmla="*/ 3543300 h 4552950"/>
              <a:gd name="connsiteX5" fmla="*/ 3282950 w 4462921"/>
              <a:gd name="connsiteY5" fmla="*/ 2286000 h 4552950"/>
              <a:gd name="connsiteX6" fmla="*/ 0 w 4462921"/>
              <a:gd name="connsiteY6" fmla="*/ 1016000 h 4552950"/>
              <a:gd name="connsiteX7" fmla="*/ 0 w 4462921"/>
              <a:gd name="connsiteY7" fmla="*/ 0 h 4552950"/>
              <a:gd name="connsiteX0" fmla="*/ 0 w 4462921"/>
              <a:gd name="connsiteY0" fmla="*/ 0 h 4560094"/>
              <a:gd name="connsiteX1" fmla="*/ 4462462 w 4462921"/>
              <a:gd name="connsiteY1" fmla="*/ 1819275 h 4560094"/>
              <a:gd name="connsiteX2" fmla="*/ 4462463 w 4462921"/>
              <a:gd name="connsiteY2" fmla="*/ 2747962 h 4560094"/>
              <a:gd name="connsiteX3" fmla="*/ 2381 w 4462921"/>
              <a:gd name="connsiteY3" fmla="*/ 4560094 h 4560094"/>
              <a:gd name="connsiteX4" fmla="*/ 0 w 4462921"/>
              <a:gd name="connsiteY4" fmla="*/ 3543300 h 4560094"/>
              <a:gd name="connsiteX5" fmla="*/ 3282950 w 4462921"/>
              <a:gd name="connsiteY5" fmla="*/ 2286000 h 4560094"/>
              <a:gd name="connsiteX6" fmla="*/ 0 w 4462921"/>
              <a:gd name="connsiteY6" fmla="*/ 1016000 h 4560094"/>
              <a:gd name="connsiteX7" fmla="*/ 0 w 4462921"/>
              <a:gd name="connsiteY7" fmla="*/ 0 h 4560094"/>
              <a:gd name="connsiteX0" fmla="*/ 0 w 4462921"/>
              <a:gd name="connsiteY0" fmla="*/ 0 h 4560094"/>
              <a:gd name="connsiteX1" fmla="*/ 4462462 w 4462921"/>
              <a:gd name="connsiteY1" fmla="*/ 1819275 h 4560094"/>
              <a:gd name="connsiteX2" fmla="*/ 4462463 w 4462921"/>
              <a:gd name="connsiteY2" fmla="*/ 2747962 h 4560094"/>
              <a:gd name="connsiteX3" fmla="*/ 2381 w 4462921"/>
              <a:gd name="connsiteY3" fmla="*/ 4560094 h 4560094"/>
              <a:gd name="connsiteX4" fmla="*/ 0 w 4462921"/>
              <a:gd name="connsiteY4" fmla="*/ 3543300 h 4560094"/>
              <a:gd name="connsiteX5" fmla="*/ 3275807 w 4462921"/>
              <a:gd name="connsiteY5" fmla="*/ 2286000 h 4560094"/>
              <a:gd name="connsiteX6" fmla="*/ 0 w 4462921"/>
              <a:gd name="connsiteY6" fmla="*/ 1016000 h 4560094"/>
              <a:gd name="connsiteX7" fmla="*/ 0 w 4462921"/>
              <a:gd name="connsiteY7" fmla="*/ 0 h 4560094"/>
              <a:gd name="connsiteX0" fmla="*/ 0 w 4462921"/>
              <a:gd name="connsiteY0" fmla="*/ 0 h 4557713"/>
              <a:gd name="connsiteX1" fmla="*/ 4462462 w 4462921"/>
              <a:gd name="connsiteY1" fmla="*/ 1819275 h 4557713"/>
              <a:gd name="connsiteX2" fmla="*/ 4462463 w 4462921"/>
              <a:gd name="connsiteY2" fmla="*/ 2747962 h 4557713"/>
              <a:gd name="connsiteX3" fmla="*/ 2381 w 4462921"/>
              <a:gd name="connsiteY3" fmla="*/ 4557713 h 4557713"/>
              <a:gd name="connsiteX4" fmla="*/ 0 w 4462921"/>
              <a:gd name="connsiteY4" fmla="*/ 3543300 h 4557713"/>
              <a:gd name="connsiteX5" fmla="*/ 3275807 w 4462921"/>
              <a:gd name="connsiteY5" fmla="*/ 2286000 h 4557713"/>
              <a:gd name="connsiteX6" fmla="*/ 0 w 4462921"/>
              <a:gd name="connsiteY6" fmla="*/ 1016000 h 4557713"/>
              <a:gd name="connsiteX7" fmla="*/ 0 w 4462921"/>
              <a:gd name="connsiteY7" fmla="*/ 0 h 4557713"/>
              <a:gd name="connsiteX0" fmla="*/ 0 w 4462921"/>
              <a:gd name="connsiteY0" fmla="*/ 0 h 4562475"/>
              <a:gd name="connsiteX1" fmla="*/ 4462462 w 4462921"/>
              <a:gd name="connsiteY1" fmla="*/ 1819275 h 4562475"/>
              <a:gd name="connsiteX2" fmla="*/ 4462463 w 4462921"/>
              <a:gd name="connsiteY2" fmla="*/ 2747962 h 4562475"/>
              <a:gd name="connsiteX3" fmla="*/ 2381 w 4462921"/>
              <a:gd name="connsiteY3" fmla="*/ 4562475 h 4562475"/>
              <a:gd name="connsiteX4" fmla="*/ 0 w 4462921"/>
              <a:gd name="connsiteY4" fmla="*/ 3543300 h 4562475"/>
              <a:gd name="connsiteX5" fmla="*/ 3275807 w 4462921"/>
              <a:gd name="connsiteY5" fmla="*/ 2286000 h 4562475"/>
              <a:gd name="connsiteX6" fmla="*/ 0 w 4462921"/>
              <a:gd name="connsiteY6" fmla="*/ 1016000 h 4562475"/>
              <a:gd name="connsiteX7" fmla="*/ 0 w 4462921"/>
              <a:gd name="connsiteY7" fmla="*/ 0 h 4562475"/>
              <a:gd name="connsiteX0" fmla="*/ 2486 w 4465407"/>
              <a:gd name="connsiteY0" fmla="*/ 0 h 4564856"/>
              <a:gd name="connsiteX1" fmla="*/ 4464948 w 4465407"/>
              <a:gd name="connsiteY1" fmla="*/ 1819275 h 4564856"/>
              <a:gd name="connsiteX2" fmla="*/ 4464949 w 4465407"/>
              <a:gd name="connsiteY2" fmla="*/ 2747962 h 4564856"/>
              <a:gd name="connsiteX3" fmla="*/ 105 w 4465407"/>
              <a:gd name="connsiteY3" fmla="*/ 4564856 h 4564856"/>
              <a:gd name="connsiteX4" fmla="*/ 2486 w 4465407"/>
              <a:gd name="connsiteY4" fmla="*/ 3543300 h 4564856"/>
              <a:gd name="connsiteX5" fmla="*/ 3278293 w 4465407"/>
              <a:gd name="connsiteY5" fmla="*/ 2286000 h 4564856"/>
              <a:gd name="connsiteX6" fmla="*/ 2486 w 4465407"/>
              <a:gd name="connsiteY6" fmla="*/ 1016000 h 4564856"/>
              <a:gd name="connsiteX7" fmla="*/ 2486 w 4465407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47962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50343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55106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8417 w 4467453"/>
              <a:gd name="connsiteY5" fmla="*/ 2286000 h 4564856"/>
              <a:gd name="connsiteX6" fmla="*/ 2610 w 4467453"/>
              <a:gd name="connsiteY6" fmla="*/ 1016000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8417 w 4467453"/>
              <a:gd name="connsiteY5" fmla="*/ 2286000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1273 w 4467453"/>
              <a:gd name="connsiteY5" fmla="*/ 2288382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1273 w 4467453"/>
              <a:gd name="connsiteY5" fmla="*/ 2288382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9275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0763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0763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3145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64129 w 4465530"/>
              <a:gd name="connsiteY5" fmla="*/ 2288382 h 4564856"/>
              <a:gd name="connsiteX6" fmla="*/ 2610 w 4465530"/>
              <a:gd name="connsiteY6" fmla="*/ 1023145 h 4564856"/>
              <a:gd name="connsiteX7" fmla="*/ 2610 w 4465530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5066 w 4467986"/>
              <a:gd name="connsiteY6" fmla="*/ 1023145 h 4564856"/>
              <a:gd name="connsiteX7" fmla="*/ 0 w 4467986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2533 w 4467986"/>
              <a:gd name="connsiteY6" fmla="*/ 1018079 h 4564856"/>
              <a:gd name="connsiteX7" fmla="*/ 0 w 4467986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2533 w 4467986"/>
              <a:gd name="connsiteY6" fmla="*/ 1023145 h 4564856"/>
              <a:gd name="connsiteX7" fmla="*/ 0 w 4467986"/>
              <a:gd name="connsiteY7" fmla="*/ 0 h 4564856"/>
              <a:gd name="connsiteX0" fmla="*/ 0 w 4467986"/>
              <a:gd name="connsiteY0" fmla="*/ 0 h 4567262"/>
              <a:gd name="connsiteX1" fmla="*/ 4467527 w 4467986"/>
              <a:gd name="connsiteY1" fmla="*/ 1814537 h 4567262"/>
              <a:gd name="connsiteX2" fmla="*/ 4467529 w 4467986"/>
              <a:gd name="connsiteY2" fmla="*/ 2757512 h 4567262"/>
              <a:gd name="connsiteX3" fmla="*/ 2685 w 4467986"/>
              <a:gd name="connsiteY3" fmla="*/ 4567262 h 4567262"/>
              <a:gd name="connsiteX4" fmla="*/ 2684 w 4467986"/>
              <a:gd name="connsiteY4" fmla="*/ 3548087 h 4567262"/>
              <a:gd name="connsiteX5" fmla="*/ 3266585 w 4467986"/>
              <a:gd name="connsiteY5" fmla="*/ 2290788 h 4567262"/>
              <a:gd name="connsiteX6" fmla="*/ 2533 w 4467986"/>
              <a:gd name="connsiteY6" fmla="*/ 1025551 h 4567262"/>
              <a:gd name="connsiteX7" fmla="*/ 0 w 4467986"/>
              <a:gd name="connsiteY7" fmla="*/ 0 h 4567262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50493 h 4569668"/>
              <a:gd name="connsiteX5" fmla="*/ 3264555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48111 h 4569668"/>
              <a:gd name="connsiteX5" fmla="*/ 3264555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48111 h 4569668"/>
              <a:gd name="connsiteX5" fmla="*/ 3257411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65956" h="4569668">
                <a:moveTo>
                  <a:pt x="377" y="0"/>
                </a:moveTo>
                <a:lnTo>
                  <a:pt x="4465497" y="1816943"/>
                </a:lnTo>
                <a:cubicBezTo>
                  <a:pt x="4463910" y="2124918"/>
                  <a:pt x="4467086" y="2451943"/>
                  <a:pt x="4465499" y="2759918"/>
                </a:cubicBezTo>
                <a:lnTo>
                  <a:pt x="655" y="4569668"/>
                </a:lnTo>
                <a:cubicBezTo>
                  <a:pt x="-139" y="4230737"/>
                  <a:pt x="1448" y="3887042"/>
                  <a:pt x="654" y="3548111"/>
                </a:cubicBezTo>
                <a:lnTo>
                  <a:pt x="3257411" y="2293194"/>
                </a:lnTo>
                <a:lnTo>
                  <a:pt x="503" y="1027957"/>
                </a:lnTo>
                <a:cubicBezTo>
                  <a:pt x="-1186" y="686909"/>
                  <a:pt x="2066" y="341048"/>
                  <a:pt x="377" y="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sz="1662" dirty="0">
              <a:solidFill>
                <a:srgbClr val="FF0000"/>
              </a:solidFill>
              <a:latin typeface="等线"/>
            </a:endParaRPr>
          </a:p>
        </p:txBody>
      </p:sp>
      <p:sp>
        <p:nvSpPr>
          <p:cNvPr id="14" name="Rectangle 2">
            <a:extLst>
              <a:ext uri="{FF2B5EF4-FFF2-40B4-BE49-F238E27FC236}">
                <a16:creationId xmlns:a16="http://schemas.microsoft.com/office/drawing/2014/main" id="{9B544552-1484-4297-AA1C-A976191459D5}"/>
              </a:ext>
            </a:extLst>
          </p:cNvPr>
          <p:cNvSpPr/>
          <p:nvPr userDrawn="1"/>
        </p:nvSpPr>
        <p:spPr>
          <a:xfrm>
            <a:off x="11742953" y="6533565"/>
            <a:ext cx="34176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5303EB0-E26B-4562-A14B-21CD446304D5}" type="slidenum">
              <a:rPr lang="en-US" sz="1000" smtClean="0">
                <a:solidFill>
                  <a:prstClr val="black"/>
                </a:solidFill>
                <a:latin typeface="等线"/>
              </a:rPr>
              <a:pPr/>
              <a:t>‹#›</a:t>
            </a:fld>
            <a:endParaRPr lang="es-ES" sz="1000" dirty="0">
              <a:solidFill>
                <a:prstClr val="black"/>
              </a:solidFill>
              <a:latin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2195693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C6315C7-EA03-46C0-8501-3507BCB90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43281D6-E299-4F18-AEA2-640D4BC8F0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1AB2BCA-5F4C-4EDF-8DEE-C20400F952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0F6C9224-6BC6-4FF7-BCCF-0D0A40EC92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1AB-7A83-47F0-BFD0-16B7F12C31FD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2018/12/26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6CB5E99-225C-4206-B7C4-414A892B23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3579CA4-3C45-4942-A8A5-4CCA5D48A8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CFB6-3FE5-4195-966D-31B0EA720168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85936475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CE6F9A6-DB34-456A-A17B-717375D928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38B12225-5734-4452-94F7-9B014EA03C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A8E60CB9-62B8-40FE-8D4C-4E21EE7007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0D147CA6-AE2D-447B-B54C-44D0393317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1AB-7A83-47F0-BFD0-16B7F12C31FD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2018/12/26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4E35873-7D84-444F-B520-4DA44846B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0F68E13-AC0B-4DF3-81A5-9DD8F8B8B3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CFB6-3FE5-4195-966D-31B0EA720168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146146033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F78E48-900E-4BBD-9B7B-44A98262E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C3D07AF5-CA04-4722-9552-23AE852AF9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25B3311-07A1-4EE1-81B6-8760011C1C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1AB-7A83-47F0-BFD0-16B7F12C31FD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2018/12/26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CC0C536-040B-4E62-87E9-84AD5E6647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3BB761E-29C4-461F-83B1-068E215469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CFB6-3FE5-4195-966D-31B0EA720168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214043302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FC5D422C-D37E-49E8-886A-C1390E75754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B7D16F4D-37A5-43D0-8208-345BB9AAA5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FB84F0B-A5C2-43FE-8217-0E3E3BFDE7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1AB-7A83-47F0-BFD0-16B7F12C31FD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2018/12/26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D245E9E-2E5D-4335-83E0-2FB568C17A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09BAE86-279E-49E8-A62C-127723107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6CFB6-3FE5-4195-966D-31B0EA720168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36203747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18" y="332077"/>
            <a:ext cx="11491383" cy="42382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312809" y="1766027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5016" y="1766027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9210653" y="1766027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6261099" y="1766027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45018" y="755904"/>
            <a:ext cx="11491383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20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11940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5019" y="1803400"/>
            <a:ext cx="5465637" cy="4267200"/>
          </a:xfrm>
        </p:spPr>
        <p:txBody>
          <a:bodyPr/>
          <a:lstStyle>
            <a:lvl1pPr>
              <a:lnSpc>
                <a:spcPct val="80000"/>
              </a:lnSpc>
              <a:defRPr sz="5067" cap="all" baseline="0"/>
            </a:lvl1pPr>
          </a:lstStyle>
          <a:p>
            <a:r>
              <a:rPr lang="en-US" dirty="0"/>
              <a:t>SECTION INTRO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248401" y="1772304"/>
            <a:ext cx="5565529" cy="430611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Arial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176738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38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5018" y="1769805"/>
            <a:ext cx="11491383" cy="426965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10584" indent="0">
              <a:tabLst/>
              <a:defRPr lang="en-US" dirty="0" smtClean="0"/>
            </a:lvl2pPr>
            <a:lvl3pPr marL="205312" indent="-205312">
              <a:tabLst/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Arial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2001360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17" y="332077"/>
            <a:ext cx="11498552" cy="4238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5017" y="1769805"/>
            <a:ext cx="11498552" cy="426965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10584" indent="0">
              <a:tabLst/>
              <a:defRPr lang="en-US" dirty="0" smtClean="0"/>
            </a:lvl2pPr>
            <a:lvl3pPr marL="205312" indent="-205312">
              <a:tabLst/>
              <a:defRPr lang="en-US" b="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7" y="755904"/>
            <a:ext cx="11498552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20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Arial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635196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18" y="332077"/>
            <a:ext cx="11491383" cy="4238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291072" y="1766027"/>
            <a:ext cx="5553045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133" b="1" dirty="0" smtClean="0"/>
            </a:lvl1pPr>
            <a:lvl2pPr>
              <a:defRPr lang="en-US" sz="2133" b="0" dirty="0" smtClean="0"/>
            </a:lvl2pPr>
            <a:lvl3pPr>
              <a:defRPr lang="en-US" sz="2133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45019" y="1766027"/>
            <a:ext cx="5543717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133" b="1" dirty="0" smtClean="0"/>
            </a:lvl1pPr>
            <a:lvl2pPr>
              <a:defRPr lang="en-US" sz="2133" b="0" dirty="0" smtClean="0"/>
            </a:lvl2pPr>
            <a:lvl3pPr>
              <a:defRPr lang="en-US" sz="2133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45018" y="755904"/>
            <a:ext cx="11491383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20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Arial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6189923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18" y="332077"/>
            <a:ext cx="11491383" cy="4238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8308437" y="1766027"/>
            <a:ext cx="353568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326728" y="1766027"/>
            <a:ext cx="353568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45019" y="1766027"/>
            <a:ext cx="353568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45018" y="755904"/>
            <a:ext cx="11491383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20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Arial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448318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18" y="332077"/>
            <a:ext cx="11491383" cy="42382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312809" y="1766027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5016" y="1766027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9210653" y="1766027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6261099" y="1766027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45018" y="755904"/>
            <a:ext cx="11491383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20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Arial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460532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3308577" y="1803400"/>
            <a:ext cx="8519356" cy="4275016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5017" y="1766027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Arial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9968400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Arial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0330542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8084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4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Arial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01644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3308577" y="1803400"/>
            <a:ext cx="8519356" cy="4275016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5017" y="1766027"/>
            <a:ext cx="2560320" cy="431908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67" b="1" dirty="0" smtClean="0"/>
            </a:lvl1pPr>
            <a:lvl2pPr>
              <a:defRPr lang="en-US" sz="1867" b="0" dirty="0" smtClean="0"/>
            </a:lvl2pPr>
            <a:lvl3pPr>
              <a:defRPr lang="en-US" sz="1867" b="0" dirty="0" smtClean="0"/>
            </a:lvl3pPr>
            <a:lvl4pPr>
              <a:defRPr lang="en-US" sz="1867" b="1" dirty="0" smtClean="0"/>
            </a:lvl4pPr>
            <a:lvl5pPr>
              <a:defRPr lang="en-US" sz="1867" b="1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3522321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Light">
    <p:bg>
      <p:bgPr>
        <a:gradFill>
          <a:gsLst>
            <a:gs pos="0">
              <a:schemeClr val="accent3"/>
            </a:gs>
            <a:gs pos="100000">
              <a:schemeClr val="accent6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" y="495303"/>
            <a:ext cx="10600621" cy="6172199"/>
          </a:xfrm>
        </p:spPr>
        <p:txBody>
          <a:bodyPr>
            <a:noAutofit/>
          </a:bodyPr>
          <a:lstStyle>
            <a:lvl1pPr marL="0" indent="0">
              <a:lnSpc>
                <a:spcPct val="65000"/>
              </a:lnSpc>
              <a:defRPr sz="12000" b="0" spc="-200" baseline="0">
                <a:latin typeface="Arial Black" panose="020B0A04020102020204" pitchFamily="34" charset="0"/>
              </a:defRPr>
            </a:lvl1pPr>
            <a:lvl2pPr marL="55560" indent="0">
              <a:lnSpc>
                <a:spcPct val="65000"/>
              </a:lnSpc>
              <a:spcAft>
                <a:spcPts val="0"/>
              </a:spcAft>
              <a:defRPr sz="6000" b="0" cap="all" spc="-151" baseline="0">
                <a:latin typeface="Arial Black" panose="020B0A04020102020204" pitchFamily="34" charset="0"/>
              </a:defRPr>
            </a:lvl2pPr>
            <a:lvl3pPr marL="55560" indent="0">
              <a:lnSpc>
                <a:spcPct val="70000"/>
              </a:lnSpc>
              <a:spcAft>
                <a:spcPts val="0"/>
              </a:spcAft>
              <a:defRPr sz="4000" b="0" cap="all" baseline="0">
                <a:latin typeface="Arial Black" panose="020B0A04020102020204" pitchFamily="34" charset="0"/>
              </a:defRPr>
            </a:lvl3pPr>
            <a:lvl4pPr marL="55560" indent="0">
              <a:lnSpc>
                <a:spcPct val="80000"/>
              </a:lnSpc>
              <a:buNone/>
              <a:defRPr sz="3000" b="0" cap="all" baseline="0">
                <a:latin typeface="Arial Black" panose="020B0A04020102020204" pitchFamily="34" charset="0"/>
              </a:defRPr>
            </a:lvl4pPr>
            <a:lvl5pPr marL="55560" indent="0">
              <a:lnSpc>
                <a:spcPct val="80000"/>
              </a:lnSpc>
              <a:buNone/>
              <a:defRPr sz="2000" b="0" cap="all" baseline="0"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807487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34760"/>
          <a:stretch/>
        </p:blipFill>
        <p:spPr>
          <a:xfrm>
            <a:off x="-168619" y="1"/>
            <a:ext cx="12012188" cy="6857143"/>
          </a:xfrm>
          <a:prstGeom prst="rect">
            <a:avLst/>
          </a:prstGeom>
        </p:spPr>
      </p:pic>
      <p:sp>
        <p:nvSpPr>
          <p:cNvPr id="5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  <a:latin typeface="Arial"/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5899682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975" cy="6858000"/>
          </a:xfrm>
          <a:prstGeom prst="rect">
            <a:avLst/>
          </a:prstGeom>
        </p:spPr>
      </p:pic>
      <p:pic>
        <p:nvPicPr>
          <p:cNvPr id="11" name="GTS_Strategy_KEYLINE" hidden="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4569" y="479659"/>
            <a:ext cx="5857156" cy="6076800"/>
          </a:xfrm>
          <a:prstGeom prst="rect">
            <a:avLst/>
          </a:prstGeom>
        </p:spPr>
      </p:pic>
      <p:pic>
        <p:nvPicPr>
          <p:cNvPr id="13" name="GTS_Strategy_GRADIENT_darkBG" hidden="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44569" y="479659"/>
            <a:ext cx="5857156" cy="6076800"/>
          </a:xfrm>
          <a:prstGeom prst="rect">
            <a:avLst/>
          </a:prstGeom>
        </p:spPr>
      </p:pic>
      <p:pic>
        <p:nvPicPr>
          <p:cNvPr id="10" name="GTS_Strategy_GRADIENT_lightBG" hidden="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4569" y="479659"/>
            <a:ext cx="5857156" cy="6076800"/>
          </a:xfrm>
          <a:prstGeom prst="rect">
            <a:avLst/>
          </a:prstGeom>
        </p:spPr>
      </p:pic>
      <p:pic>
        <p:nvPicPr>
          <p:cNvPr id="5" name="GTS_Strategy_DIMENSIONAL_lightBG" hidden="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44569" y="479659"/>
            <a:ext cx="5857156" cy="6076800"/>
          </a:xfrm>
          <a:prstGeom prst="rect">
            <a:avLst/>
          </a:prstGeom>
        </p:spPr>
      </p:pic>
      <p:pic>
        <p:nvPicPr>
          <p:cNvPr id="101" name="Acc_StrategyWHITE" hidden="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729885" y="352484"/>
            <a:ext cx="2959987" cy="534475"/>
          </a:xfrm>
          <a:prstGeom prst="rect">
            <a:avLst/>
          </a:prstGeom>
        </p:spPr>
      </p:pic>
      <p:pic>
        <p:nvPicPr>
          <p:cNvPr id="12" name="GTS_Strategy_DIMENSIONAL_darkB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065175" y="982115"/>
            <a:ext cx="4716888" cy="4893772"/>
          </a:xfrm>
          <a:prstGeom prst="rect">
            <a:avLst/>
          </a:prstGeom>
        </p:spPr>
      </p:pic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4941011" y="1754793"/>
            <a:ext cx="4296557" cy="3169903"/>
          </a:xfrm>
        </p:spPr>
        <p:txBody>
          <a:bodyPr tIns="252000" anchor="ctr"/>
          <a:lstStyle>
            <a:lvl1pPr>
              <a:lnSpc>
                <a:spcPct val="70000"/>
              </a:lnSpc>
              <a:defRPr sz="7200" spc="-15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</a:t>
            </a:r>
            <a:br>
              <a:rPr lang="en-US" dirty="0"/>
            </a:br>
            <a:r>
              <a:rPr lang="en-US" dirty="0"/>
              <a:t>to edit Master title</a:t>
            </a:r>
            <a:endParaRPr lang="en-AU" dirty="0"/>
          </a:p>
        </p:txBody>
      </p:sp>
      <p:sp>
        <p:nvSpPr>
          <p:cNvPr id="15" name="Freeform 6"/>
          <p:cNvSpPr>
            <a:spLocks noEditPoints="1"/>
          </p:cNvSpPr>
          <p:nvPr userDrawn="1"/>
        </p:nvSpPr>
        <p:spPr bwMode="auto">
          <a:xfrm>
            <a:off x="560755" y="839843"/>
            <a:ext cx="2686352" cy="513756"/>
          </a:xfrm>
          <a:custGeom>
            <a:avLst/>
            <a:gdLst>
              <a:gd name="T0" fmla="*/ 35 w 765"/>
              <a:gd name="T1" fmla="*/ 118 h 135"/>
              <a:gd name="T2" fmla="*/ 56 w 765"/>
              <a:gd name="T3" fmla="*/ 88 h 135"/>
              <a:gd name="T4" fmla="*/ 78 w 765"/>
              <a:gd name="T5" fmla="*/ 62 h 135"/>
              <a:gd name="T6" fmla="*/ 4 w 765"/>
              <a:gd name="T7" fmla="*/ 62 h 135"/>
              <a:gd name="T8" fmla="*/ 42 w 765"/>
              <a:gd name="T9" fmla="*/ 47 h 135"/>
              <a:gd name="T10" fmla="*/ 56 w 765"/>
              <a:gd name="T11" fmla="*/ 75 h 135"/>
              <a:gd name="T12" fmla="*/ 30 w 765"/>
              <a:gd name="T13" fmla="*/ 135 h 135"/>
              <a:gd name="T14" fmla="*/ 56 w 765"/>
              <a:gd name="T15" fmla="*/ 121 h 135"/>
              <a:gd name="T16" fmla="*/ 78 w 765"/>
              <a:gd name="T17" fmla="*/ 132 h 135"/>
              <a:gd name="T18" fmla="*/ 132 w 765"/>
              <a:gd name="T19" fmla="*/ 47 h 135"/>
              <a:gd name="T20" fmla="*/ 154 w 765"/>
              <a:gd name="T21" fmla="*/ 118 h 135"/>
              <a:gd name="T22" fmla="*/ 171 w 765"/>
              <a:gd name="T23" fmla="*/ 130 h 135"/>
              <a:gd name="T24" fmla="*/ 88 w 765"/>
              <a:gd name="T25" fmla="*/ 78 h 135"/>
              <a:gd name="T26" fmla="*/ 172 w 765"/>
              <a:gd name="T27" fmla="*/ 67 h 135"/>
              <a:gd name="T28" fmla="*/ 236 w 765"/>
              <a:gd name="T29" fmla="*/ 67 h 135"/>
              <a:gd name="T30" fmla="*/ 202 w 765"/>
              <a:gd name="T31" fmla="*/ 74 h 135"/>
              <a:gd name="T32" fmla="*/ 260 w 765"/>
              <a:gd name="T33" fmla="*/ 116 h 135"/>
              <a:gd name="T34" fmla="*/ 231 w 765"/>
              <a:gd name="T35" fmla="*/ 135 h 135"/>
              <a:gd name="T36" fmla="*/ 223 w 765"/>
              <a:gd name="T37" fmla="*/ 31 h 135"/>
              <a:gd name="T38" fmla="*/ 236 w 765"/>
              <a:gd name="T39" fmla="*/ 67 h 135"/>
              <a:gd name="T40" fmla="*/ 291 w 765"/>
              <a:gd name="T41" fmla="*/ 63 h 135"/>
              <a:gd name="T42" fmla="*/ 327 w 765"/>
              <a:gd name="T43" fmla="*/ 63 h 135"/>
              <a:gd name="T44" fmla="*/ 349 w 765"/>
              <a:gd name="T45" fmla="*/ 71 h 135"/>
              <a:gd name="T46" fmla="*/ 269 w 765"/>
              <a:gd name="T47" fmla="*/ 77 h 135"/>
              <a:gd name="T48" fmla="*/ 347 w 765"/>
              <a:gd name="T49" fmla="*/ 131 h 135"/>
              <a:gd name="T50" fmla="*/ 328 w 765"/>
              <a:gd name="T51" fmla="*/ 118 h 135"/>
              <a:gd name="T52" fmla="*/ 349 w 765"/>
              <a:gd name="T53" fmla="*/ 77 h 135"/>
              <a:gd name="T54" fmla="*/ 418 w 765"/>
              <a:gd name="T55" fmla="*/ 76 h 135"/>
              <a:gd name="T56" fmla="*/ 408 w 765"/>
              <a:gd name="T57" fmla="*/ 52 h 135"/>
              <a:gd name="T58" fmla="*/ 384 w 765"/>
              <a:gd name="T59" fmla="*/ 132 h 135"/>
              <a:gd name="T60" fmla="*/ 361 w 765"/>
              <a:gd name="T61" fmla="*/ 33 h 135"/>
              <a:gd name="T62" fmla="*/ 384 w 765"/>
              <a:gd name="T63" fmla="*/ 51 h 135"/>
              <a:gd name="T64" fmla="*/ 414 w 765"/>
              <a:gd name="T65" fmla="*/ 31 h 135"/>
              <a:gd name="T66" fmla="*/ 441 w 765"/>
              <a:gd name="T67" fmla="*/ 132 h 135"/>
              <a:gd name="T68" fmla="*/ 489 w 765"/>
              <a:gd name="T69" fmla="*/ 49 h 135"/>
              <a:gd name="T70" fmla="*/ 505 w 765"/>
              <a:gd name="T71" fmla="*/ 118 h 135"/>
              <a:gd name="T72" fmla="*/ 516 w 765"/>
              <a:gd name="T73" fmla="*/ 133 h 135"/>
              <a:gd name="T74" fmla="*/ 466 w 765"/>
              <a:gd name="T75" fmla="*/ 107 h 135"/>
              <a:gd name="T76" fmla="*/ 447 w 765"/>
              <a:gd name="T77" fmla="*/ 49 h 135"/>
              <a:gd name="T78" fmla="*/ 466 w 765"/>
              <a:gd name="T79" fmla="*/ 33 h 135"/>
              <a:gd name="T80" fmla="*/ 489 w 765"/>
              <a:gd name="T81" fmla="*/ 0 h 135"/>
              <a:gd name="T82" fmla="*/ 519 w 765"/>
              <a:gd name="T83" fmla="*/ 33 h 135"/>
              <a:gd name="T84" fmla="*/ 489 w 765"/>
              <a:gd name="T85" fmla="*/ 49 h 135"/>
              <a:gd name="T86" fmla="*/ 586 w 765"/>
              <a:gd name="T87" fmla="*/ 114 h 135"/>
              <a:gd name="T88" fmla="*/ 556 w 765"/>
              <a:gd name="T89" fmla="*/ 135 h 135"/>
              <a:gd name="T90" fmla="*/ 529 w 765"/>
              <a:gd name="T91" fmla="*/ 33 h 135"/>
              <a:gd name="T92" fmla="*/ 552 w 765"/>
              <a:gd name="T93" fmla="*/ 90 h 135"/>
              <a:gd name="T94" fmla="*/ 563 w 765"/>
              <a:gd name="T95" fmla="*/ 113 h 135"/>
              <a:gd name="T96" fmla="*/ 586 w 765"/>
              <a:gd name="T97" fmla="*/ 33 h 135"/>
              <a:gd name="T98" fmla="*/ 609 w 765"/>
              <a:gd name="T99" fmla="*/ 132 h 135"/>
              <a:gd name="T100" fmla="*/ 647 w 765"/>
              <a:gd name="T101" fmla="*/ 89 h 135"/>
              <a:gd name="T102" fmla="*/ 624 w 765"/>
              <a:gd name="T103" fmla="*/ 132 h 135"/>
              <a:gd name="T104" fmla="*/ 647 w 765"/>
              <a:gd name="T105" fmla="*/ 33 h 135"/>
              <a:gd name="T106" fmla="*/ 648 w 765"/>
              <a:gd name="T107" fmla="*/ 51 h 135"/>
              <a:gd name="T108" fmla="*/ 680 w 765"/>
              <a:gd name="T109" fmla="*/ 55 h 135"/>
              <a:gd name="T110" fmla="*/ 743 w 765"/>
              <a:gd name="T111" fmla="*/ 63 h 135"/>
              <a:gd name="T112" fmla="*/ 726 w 765"/>
              <a:gd name="T113" fmla="*/ 45 h 135"/>
              <a:gd name="T114" fmla="*/ 765 w 765"/>
              <a:gd name="T115" fmla="*/ 77 h 135"/>
              <a:gd name="T116" fmla="*/ 727 w 765"/>
              <a:gd name="T117" fmla="*/ 31 h 135"/>
              <a:gd name="T118" fmla="*/ 735 w 765"/>
              <a:gd name="T119" fmla="*/ 135 h 135"/>
              <a:gd name="T120" fmla="*/ 763 w 765"/>
              <a:gd name="T121" fmla="*/ 115 h 135"/>
              <a:gd name="T122" fmla="*/ 706 w 765"/>
              <a:gd name="T123" fmla="*/ 77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65" h="135">
                <a:moveTo>
                  <a:pt x="56" y="88"/>
                </a:moveTo>
                <a:cubicBezTo>
                  <a:pt x="56" y="101"/>
                  <a:pt x="51" y="118"/>
                  <a:pt x="35" y="118"/>
                </a:cubicBezTo>
                <a:cubicBezTo>
                  <a:pt x="28" y="118"/>
                  <a:pt x="23" y="114"/>
                  <a:pt x="23" y="106"/>
                </a:cubicBezTo>
                <a:cubicBezTo>
                  <a:pt x="23" y="91"/>
                  <a:pt x="45" y="88"/>
                  <a:pt x="56" y="88"/>
                </a:cubicBezTo>
                <a:close/>
                <a:moveTo>
                  <a:pt x="78" y="132"/>
                </a:moveTo>
                <a:cubicBezTo>
                  <a:pt x="78" y="62"/>
                  <a:pt x="78" y="62"/>
                  <a:pt x="78" y="62"/>
                </a:cubicBezTo>
                <a:cubicBezTo>
                  <a:pt x="78" y="38"/>
                  <a:pt x="63" y="31"/>
                  <a:pt x="42" y="31"/>
                </a:cubicBezTo>
                <a:cubicBezTo>
                  <a:pt x="21" y="31"/>
                  <a:pt x="4" y="39"/>
                  <a:pt x="4" y="62"/>
                </a:cubicBezTo>
                <a:cubicBezTo>
                  <a:pt x="27" y="62"/>
                  <a:pt x="27" y="62"/>
                  <a:pt x="27" y="62"/>
                </a:cubicBezTo>
                <a:cubicBezTo>
                  <a:pt x="27" y="52"/>
                  <a:pt x="32" y="47"/>
                  <a:pt x="42" y="47"/>
                </a:cubicBezTo>
                <a:cubicBezTo>
                  <a:pt x="53" y="47"/>
                  <a:pt x="56" y="55"/>
                  <a:pt x="56" y="65"/>
                </a:cubicBezTo>
                <a:cubicBezTo>
                  <a:pt x="56" y="75"/>
                  <a:pt x="56" y="75"/>
                  <a:pt x="56" y="75"/>
                </a:cubicBezTo>
                <a:cubicBezTo>
                  <a:pt x="33" y="76"/>
                  <a:pt x="0" y="79"/>
                  <a:pt x="0" y="109"/>
                </a:cubicBezTo>
                <a:cubicBezTo>
                  <a:pt x="0" y="125"/>
                  <a:pt x="14" y="135"/>
                  <a:pt x="30" y="135"/>
                </a:cubicBezTo>
                <a:cubicBezTo>
                  <a:pt x="41" y="135"/>
                  <a:pt x="51" y="131"/>
                  <a:pt x="56" y="121"/>
                </a:cubicBezTo>
                <a:cubicBezTo>
                  <a:pt x="56" y="121"/>
                  <a:pt x="56" y="121"/>
                  <a:pt x="56" y="121"/>
                </a:cubicBezTo>
                <a:cubicBezTo>
                  <a:pt x="56" y="132"/>
                  <a:pt x="56" y="132"/>
                  <a:pt x="56" y="132"/>
                </a:cubicBezTo>
                <a:lnTo>
                  <a:pt x="78" y="132"/>
                </a:lnTo>
                <a:close/>
                <a:moveTo>
                  <a:pt x="147" y="67"/>
                </a:moveTo>
                <a:cubicBezTo>
                  <a:pt x="147" y="57"/>
                  <a:pt x="144" y="47"/>
                  <a:pt x="132" y="47"/>
                </a:cubicBezTo>
                <a:cubicBezTo>
                  <a:pt x="117" y="47"/>
                  <a:pt x="113" y="62"/>
                  <a:pt x="113" y="74"/>
                </a:cubicBezTo>
                <a:cubicBezTo>
                  <a:pt x="113" y="99"/>
                  <a:pt x="128" y="118"/>
                  <a:pt x="154" y="118"/>
                </a:cubicBezTo>
                <a:cubicBezTo>
                  <a:pt x="160" y="118"/>
                  <a:pt x="165" y="118"/>
                  <a:pt x="171" y="116"/>
                </a:cubicBezTo>
                <a:cubicBezTo>
                  <a:pt x="171" y="130"/>
                  <a:pt x="171" y="130"/>
                  <a:pt x="171" y="130"/>
                </a:cubicBezTo>
                <a:cubicBezTo>
                  <a:pt x="161" y="133"/>
                  <a:pt x="151" y="135"/>
                  <a:pt x="142" y="135"/>
                </a:cubicBezTo>
                <a:cubicBezTo>
                  <a:pt x="106" y="135"/>
                  <a:pt x="88" y="113"/>
                  <a:pt x="88" y="78"/>
                </a:cubicBezTo>
                <a:cubicBezTo>
                  <a:pt x="88" y="49"/>
                  <a:pt x="104" y="31"/>
                  <a:pt x="134" y="31"/>
                </a:cubicBezTo>
                <a:cubicBezTo>
                  <a:pt x="158" y="31"/>
                  <a:pt x="172" y="42"/>
                  <a:pt x="172" y="67"/>
                </a:cubicBezTo>
                <a:lnTo>
                  <a:pt x="147" y="67"/>
                </a:lnTo>
                <a:close/>
                <a:moveTo>
                  <a:pt x="236" y="67"/>
                </a:moveTo>
                <a:cubicBezTo>
                  <a:pt x="236" y="57"/>
                  <a:pt x="233" y="47"/>
                  <a:pt x="221" y="47"/>
                </a:cubicBezTo>
                <a:cubicBezTo>
                  <a:pt x="206" y="47"/>
                  <a:pt x="202" y="62"/>
                  <a:pt x="202" y="74"/>
                </a:cubicBezTo>
                <a:cubicBezTo>
                  <a:pt x="202" y="99"/>
                  <a:pt x="217" y="118"/>
                  <a:pt x="243" y="118"/>
                </a:cubicBezTo>
                <a:cubicBezTo>
                  <a:pt x="249" y="118"/>
                  <a:pt x="254" y="118"/>
                  <a:pt x="260" y="116"/>
                </a:cubicBezTo>
                <a:cubicBezTo>
                  <a:pt x="260" y="130"/>
                  <a:pt x="260" y="130"/>
                  <a:pt x="260" y="130"/>
                </a:cubicBezTo>
                <a:cubicBezTo>
                  <a:pt x="250" y="133"/>
                  <a:pt x="241" y="135"/>
                  <a:pt x="231" y="135"/>
                </a:cubicBezTo>
                <a:cubicBezTo>
                  <a:pt x="195" y="135"/>
                  <a:pt x="177" y="113"/>
                  <a:pt x="177" y="78"/>
                </a:cubicBezTo>
                <a:cubicBezTo>
                  <a:pt x="177" y="49"/>
                  <a:pt x="193" y="31"/>
                  <a:pt x="223" y="31"/>
                </a:cubicBezTo>
                <a:cubicBezTo>
                  <a:pt x="247" y="31"/>
                  <a:pt x="261" y="42"/>
                  <a:pt x="261" y="67"/>
                </a:cubicBezTo>
                <a:lnTo>
                  <a:pt x="236" y="67"/>
                </a:lnTo>
                <a:close/>
                <a:moveTo>
                  <a:pt x="327" y="63"/>
                </a:moveTo>
                <a:cubicBezTo>
                  <a:pt x="291" y="63"/>
                  <a:pt x="291" y="63"/>
                  <a:pt x="291" y="63"/>
                </a:cubicBezTo>
                <a:cubicBezTo>
                  <a:pt x="292" y="53"/>
                  <a:pt x="300" y="45"/>
                  <a:pt x="310" y="45"/>
                </a:cubicBezTo>
                <a:cubicBezTo>
                  <a:pt x="320" y="45"/>
                  <a:pt x="327" y="52"/>
                  <a:pt x="327" y="63"/>
                </a:cubicBezTo>
                <a:close/>
                <a:moveTo>
                  <a:pt x="349" y="77"/>
                </a:moveTo>
                <a:cubicBezTo>
                  <a:pt x="349" y="71"/>
                  <a:pt x="349" y="71"/>
                  <a:pt x="349" y="71"/>
                </a:cubicBezTo>
                <a:cubicBezTo>
                  <a:pt x="349" y="47"/>
                  <a:pt x="337" y="31"/>
                  <a:pt x="311" y="31"/>
                </a:cubicBezTo>
                <a:cubicBezTo>
                  <a:pt x="282" y="31"/>
                  <a:pt x="269" y="49"/>
                  <a:pt x="269" y="77"/>
                </a:cubicBezTo>
                <a:cubicBezTo>
                  <a:pt x="269" y="110"/>
                  <a:pt x="283" y="135"/>
                  <a:pt x="319" y="135"/>
                </a:cubicBezTo>
                <a:cubicBezTo>
                  <a:pt x="328" y="135"/>
                  <a:pt x="338" y="134"/>
                  <a:pt x="347" y="131"/>
                </a:cubicBezTo>
                <a:cubicBezTo>
                  <a:pt x="347" y="115"/>
                  <a:pt x="347" y="115"/>
                  <a:pt x="347" y="115"/>
                </a:cubicBezTo>
                <a:cubicBezTo>
                  <a:pt x="341" y="117"/>
                  <a:pt x="334" y="118"/>
                  <a:pt x="328" y="118"/>
                </a:cubicBezTo>
                <a:cubicBezTo>
                  <a:pt x="305" y="118"/>
                  <a:pt x="290" y="98"/>
                  <a:pt x="290" y="77"/>
                </a:cubicBezTo>
                <a:lnTo>
                  <a:pt x="349" y="77"/>
                </a:lnTo>
                <a:close/>
                <a:moveTo>
                  <a:pt x="418" y="132"/>
                </a:moveTo>
                <a:cubicBezTo>
                  <a:pt x="418" y="76"/>
                  <a:pt x="418" y="76"/>
                  <a:pt x="418" y="76"/>
                </a:cubicBezTo>
                <a:cubicBezTo>
                  <a:pt x="418" y="71"/>
                  <a:pt x="418" y="58"/>
                  <a:pt x="414" y="54"/>
                </a:cubicBezTo>
                <a:cubicBezTo>
                  <a:pt x="413" y="53"/>
                  <a:pt x="410" y="52"/>
                  <a:pt x="408" y="52"/>
                </a:cubicBezTo>
                <a:cubicBezTo>
                  <a:pt x="391" y="52"/>
                  <a:pt x="384" y="76"/>
                  <a:pt x="384" y="89"/>
                </a:cubicBezTo>
                <a:cubicBezTo>
                  <a:pt x="384" y="132"/>
                  <a:pt x="384" y="132"/>
                  <a:pt x="384" y="132"/>
                </a:cubicBezTo>
                <a:cubicBezTo>
                  <a:pt x="361" y="132"/>
                  <a:pt x="361" y="132"/>
                  <a:pt x="361" y="132"/>
                </a:cubicBezTo>
                <a:cubicBezTo>
                  <a:pt x="361" y="33"/>
                  <a:pt x="361" y="33"/>
                  <a:pt x="361" y="33"/>
                </a:cubicBezTo>
                <a:cubicBezTo>
                  <a:pt x="384" y="33"/>
                  <a:pt x="384" y="33"/>
                  <a:pt x="384" y="33"/>
                </a:cubicBezTo>
                <a:cubicBezTo>
                  <a:pt x="384" y="51"/>
                  <a:pt x="384" y="51"/>
                  <a:pt x="384" y="51"/>
                </a:cubicBezTo>
                <a:cubicBezTo>
                  <a:pt x="385" y="51"/>
                  <a:pt x="385" y="51"/>
                  <a:pt x="385" y="51"/>
                </a:cubicBezTo>
                <a:cubicBezTo>
                  <a:pt x="390" y="39"/>
                  <a:pt x="400" y="31"/>
                  <a:pt x="414" y="31"/>
                </a:cubicBezTo>
                <a:cubicBezTo>
                  <a:pt x="433" y="31"/>
                  <a:pt x="441" y="46"/>
                  <a:pt x="441" y="63"/>
                </a:cubicBezTo>
                <a:cubicBezTo>
                  <a:pt x="441" y="132"/>
                  <a:pt x="441" y="132"/>
                  <a:pt x="441" y="132"/>
                </a:cubicBezTo>
                <a:lnTo>
                  <a:pt x="418" y="132"/>
                </a:lnTo>
                <a:close/>
                <a:moveTo>
                  <a:pt x="489" y="49"/>
                </a:moveTo>
                <a:cubicBezTo>
                  <a:pt x="489" y="96"/>
                  <a:pt x="489" y="96"/>
                  <a:pt x="489" y="96"/>
                </a:cubicBezTo>
                <a:cubicBezTo>
                  <a:pt x="489" y="108"/>
                  <a:pt x="491" y="118"/>
                  <a:pt x="505" y="118"/>
                </a:cubicBezTo>
                <a:cubicBezTo>
                  <a:pt x="509" y="118"/>
                  <a:pt x="512" y="118"/>
                  <a:pt x="516" y="117"/>
                </a:cubicBezTo>
                <a:cubicBezTo>
                  <a:pt x="516" y="133"/>
                  <a:pt x="516" y="133"/>
                  <a:pt x="516" y="133"/>
                </a:cubicBezTo>
                <a:cubicBezTo>
                  <a:pt x="510" y="134"/>
                  <a:pt x="503" y="135"/>
                  <a:pt x="497" y="135"/>
                </a:cubicBezTo>
                <a:cubicBezTo>
                  <a:pt x="477" y="135"/>
                  <a:pt x="466" y="128"/>
                  <a:pt x="466" y="107"/>
                </a:cubicBezTo>
                <a:cubicBezTo>
                  <a:pt x="466" y="49"/>
                  <a:pt x="466" y="49"/>
                  <a:pt x="466" y="49"/>
                </a:cubicBezTo>
                <a:cubicBezTo>
                  <a:pt x="447" y="49"/>
                  <a:pt x="447" y="49"/>
                  <a:pt x="447" y="49"/>
                </a:cubicBezTo>
                <a:cubicBezTo>
                  <a:pt x="447" y="33"/>
                  <a:pt x="447" y="33"/>
                  <a:pt x="447" y="33"/>
                </a:cubicBezTo>
                <a:cubicBezTo>
                  <a:pt x="466" y="33"/>
                  <a:pt x="466" y="33"/>
                  <a:pt x="466" y="33"/>
                </a:cubicBezTo>
                <a:cubicBezTo>
                  <a:pt x="466" y="9"/>
                  <a:pt x="466" y="9"/>
                  <a:pt x="466" y="9"/>
                </a:cubicBezTo>
                <a:cubicBezTo>
                  <a:pt x="489" y="0"/>
                  <a:pt x="489" y="0"/>
                  <a:pt x="489" y="0"/>
                </a:cubicBezTo>
                <a:cubicBezTo>
                  <a:pt x="489" y="33"/>
                  <a:pt x="489" y="33"/>
                  <a:pt x="489" y="33"/>
                </a:cubicBezTo>
                <a:cubicBezTo>
                  <a:pt x="519" y="33"/>
                  <a:pt x="519" y="33"/>
                  <a:pt x="519" y="33"/>
                </a:cubicBezTo>
                <a:cubicBezTo>
                  <a:pt x="519" y="49"/>
                  <a:pt x="519" y="49"/>
                  <a:pt x="519" y="49"/>
                </a:cubicBezTo>
                <a:lnTo>
                  <a:pt x="489" y="49"/>
                </a:lnTo>
                <a:close/>
                <a:moveTo>
                  <a:pt x="586" y="132"/>
                </a:moveTo>
                <a:cubicBezTo>
                  <a:pt x="586" y="114"/>
                  <a:pt x="586" y="114"/>
                  <a:pt x="586" y="114"/>
                </a:cubicBezTo>
                <a:cubicBezTo>
                  <a:pt x="586" y="114"/>
                  <a:pt x="586" y="114"/>
                  <a:pt x="586" y="114"/>
                </a:cubicBezTo>
                <a:cubicBezTo>
                  <a:pt x="580" y="126"/>
                  <a:pt x="570" y="135"/>
                  <a:pt x="556" y="135"/>
                </a:cubicBezTo>
                <a:cubicBezTo>
                  <a:pt x="537" y="135"/>
                  <a:pt x="529" y="119"/>
                  <a:pt x="529" y="102"/>
                </a:cubicBezTo>
                <a:cubicBezTo>
                  <a:pt x="529" y="33"/>
                  <a:pt x="529" y="33"/>
                  <a:pt x="529" y="33"/>
                </a:cubicBezTo>
                <a:cubicBezTo>
                  <a:pt x="552" y="33"/>
                  <a:pt x="552" y="33"/>
                  <a:pt x="552" y="33"/>
                </a:cubicBezTo>
                <a:cubicBezTo>
                  <a:pt x="552" y="90"/>
                  <a:pt x="552" y="90"/>
                  <a:pt x="552" y="90"/>
                </a:cubicBezTo>
                <a:cubicBezTo>
                  <a:pt x="552" y="95"/>
                  <a:pt x="552" y="107"/>
                  <a:pt x="556" y="111"/>
                </a:cubicBezTo>
                <a:cubicBezTo>
                  <a:pt x="558" y="113"/>
                  <a:pt x="560" y="113"/>
                  <a:pt x="563" y="113"/>
                </a:cubicBezTo>
                <a:cubicBezTo>
                  <a:pt x="579" y="113"/>
                  <a:pt x="586" y="89"/>
                  <a:pt x="586" y="76"/>
                </a:cubicBezTo>
                <a:cubicBezTo>
                  <a:pt x="586" y="33"/>
                  <a:pt x="586" y="33"/>
                  <a:pt x="586" y="33"/>
                </a:cubicBezTo>
                <a:cubicBezTo>
                  <a:pt x="609" y="33"/>
                  <a:pt x="609" y="33"/>
                  <a:pt x="609" y="33"/>
                </a:cubicBezTo>
                <a:cubicBezTo>
                  <a:pt x="609" y="132"/>
                  <a:pt x="609" y="132"/>
                  <a:pt x="609" y="132"/>
                </a:cubicBezTo>
                <a:lnTo>
                  <a:pt x="586" y="132"/>
                </a:lnTo>
                <a:close/>
                <a:moveTo>
                  <a:pt x="647" y="89"/>
                </a:moveTo>
                <a:cubicBezTo>
                  <a:pt x="647" y="132"/>
                  <a:pt x="647" y="132"/>
                  <a:pt x="647" y="132"/>
                </a:cubicBezTo>
                <a:cubicBezTo>
                  <a:pt x="624" y="132"/>
                  <a:pt x="624" y="132"/>
                  <a:pt x="624" y="132"/>
                </a:cubicBezTo>
                <a:cubicBezTo>
                  <a:pt x="624" y="33"/>
                  <a:pt x="624" y="33"/>
                  <a:pt x="624" y="33"/>
                </a:cubicBezTo>
                <a:cubicBezTo>
                  <a:pt x="647" y="33"/>
                  <a:pt x="647" y="33"/>
                  <a:pt x="647" y="33"/>
                </a:cubicBezTo>
                <a:cubicBezTo>
                  <a:pt x="647" y="51"/>
                  <a:pt x="647" y="51"/>
                  <a:pt x="647" y="51"/>
                </a:cubicBezTo>
                <a:cubicBezTo>
                  <a:pt x="648" y="51"/>
                  <a:pt x="648" y="51"/>
                  <a:pt x="648" y="51"/>
                </a:cubicBezTo>
                <a:cubicBezTo>
                  <a:pt x="655" y="37"/>
                  <a:pt x="663" y="31"/>
                  <a:pt x="680" y="31"/>
                </a:cubicBezTo>
                <a:cubicBezTo>
                  <a:pt x="680" y="55"/>
                  <a:pt x="680" y="55"/>
                  <a:pt x="680" y="55"/>
                </a:cubicBezTo>
                <a:cubicBezTo>
                  <a:pt x="656" y="55"/>
                  <a:pt x="647" y="65"/>
                  <a:pt x="647" y="89"/>
                </a:cubicBezTo>
                <a:close/>
                <a:moveTo>
                  <a:pt x="743" y="63"/>
                </a:moveTo>
                <a:cubicBezTo>
                  <a:pt x="707" y="63"/>
                  <a:pt x="707" y="63"/>
                  <a:pt x="707" y="63"/>
                </a:cubicBezTo>
                <a:cubicBezTo>
                  <a:pt x="708" y="53"/>
                  <a:pt x="715" y="45"/>
                  <a:pt x="726" y="45"/>
                </a:cubicBezTo>
                <a:cubicBezTo>
                  <a:pt x="736" y="45"/>
                  <a:pt x="743" y="52"/>
                  <a:pt x="743" y="63"/>
                </a:cubicBezTo>
                <a:close/>
                <a:moveTo>
                  <a:pt x="765" y="77"/>
                </a:moveTo>
                <a:cubicBezTo>
                  <a:pt x="765" y="71"/>
                  <a:pt x="765" y="71"/>
                  <a:pt x="765" y="71"/>
                </a:cubicBezTo>
                <a:cubicBezTo>
                  <a:pt x="765" y="47"/>
                  <a:pt x="753" y="31"/>
                  <a:pt x="727" y="31"/>
                </a:cubicBezTo>
                <a:cubicBezTo>
                  <a:pt x="698" y="31"/>
                  <a:pt x="685" y="49"/>
                  <a:pt x="685" y="77"/>
                </a:cubicBezTo>
                <a:cubicBezTo>
                  <a:pt x="685" y="110"/>
                  <a:pt x="699" y="135"/>
                  <a:pt x="735" y="135"/>
                </a:cubicBezTo>
                <a:cubicBezTo>
                  <a:pt x="744" y="135"/>
                  <a:pt x="754" y="134"/>
                  <a:pt x="763" y="131"/>
                </a:cubicBezTo>
                <a:cubicBezTo>
                  <a:pt x="763" y="115"/>
                  <a:pt x="763" y="115"/>
                  <a:pt x="763" y="115"/>
                </a:cubicBezTo>
                <a:cubicBezTo>
                  <a:pt x="757" y="117"/>
                  <a:pt x="750" y="118"/>
                  <a:pt x="744" y="118"/>
                </a:cubicBezTo>
                <a:cubicBezTo>
                  <a:pt x="721" y="118"/>
                  <a:pt x="706" y="98"/>
                  <a:pt x="706" y="77"/>
                </a:cubicBezTo>
                <a:lnTo>
                  <a:pt x="765" y="7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AU" sz="1867" dirty="0">
              <a:solidFill>
                <a:prstClr val="black"/>
              </a:solidFill>
              <a:latin typeface="Arial"/>
              <a:cs typeface="Arial" charset="0"/>
            </a:endParaRPr>
          </a:p>
        </p:txBody>
      </p:sp>
      <p:sp>
        <p:nvSpPr>
          <p:cNvPr id="18" name="Freeform 18"/>
          <p:cNvSpPr/>
          <p:nvPr userDrawn="1"/>
        </p:nvSpPr>
        <p:spPr>
          <a:xfrm>
            <a:off x="2139953" y="527349"/>
            <a:ext cx="258609" cy="286843"/>
          </a:xfrm>
          <a:custGeom>
            <a:avLst/>
            <a:gdLst>
              <a:gd name="connsiteX0" fmla="*/ 0 w 4457700"/>
              <a:gd name="connsiteY0" fmla="*/ 0 h 4552950"/>
              <a:gd name="connsiteX1" fmla="*/ 4457700 w 4457700"/>
              <a:gd name="connsiteY1" fmla="*/ 1828800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57700"/>
              <a:gd name="connsiteY0" fmla="*/ 0 h 4552950"/>
              <a:gd name="connsiteX1" fmla="*/ 4457700 w 4457700"/>
              <a:gd name="connsiteY1" fmla="*/ 1824037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57700"/>
              <a:gd name="connsiteY0" fmla="*/ 0 h 4552950"/>
              <a:gd name="connsiteX1" fmla="*/ 4457700 w 4457700"/>
              <a:gd name="connsiteY1" fmla="*/ 1816893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62462"/>
              <a:gd name="connsiteY0" fmla="*/ 0 h 4552950"/>
              <a:gd name="connsiteX1" fmla="*/ 4462462 w 4462462"/>
              <a:gd name="connsiteY1" fmla="*/ 1819275 h 4552950"/>
              <a:gd name="connsiteX2" fmla="*/ 4457700 w 4462462"/>
              <a:gd name="connsiteY2" fmla="*/ 2743200 h 4552950"/>
              <a:gd name="connsiteX3" fmla="*/ 0 w 4462462"/>
              <a:gd name="connsiteY3" fmla="*/ 4552950 h 4552950"/>
              <a:gd name="connsiteX4" fmla="*/ 0 w 4462462"/>
              <a:gd name="connsiteY4" fmla="*/ 3543300 h 4552950"/>
              <a:gd name="connsiteX5" fmla="*/ 3282950 w 4462462"/>
              <a:gd name="connsiteY5" fmla="*/ 2286000 h 4552950"/>
              <a:gd name="connsiteX6" fmla="*/ 0 w 4462462"/>
              <a:gd name="connsiteY6" fmla="*/ 1016000 h 4552950"/>
              <a:gd name="connsiteX7" fmla="*/ 0 w 4462462"/>
              <a:gd name="connsiteY7" fmla="*/ 0 h 4552950"/>
              <a:gd name="connsiteX0" fmla="*/ 0 w 4462921"/>
              <a:gd name="connsiteY0" fmla="*/ 0 h 4552950"/>
              <a:gd name="connsiteX1" fmla="*/ 4462462 w 4462921"/>
              <a:gd name="connsiteY1" fmla="*/ 1819275 h 4552950"/>
              <a:gd name="connsiteX2" fmla="*/ 4462463 w 4462921"/>
              <a:gd name="connsiteY2" fmla="*/ 2747962 h 4552950"/>
              <a:gd name="connsiteX3" fmla="*/ 0 w 4462921"/>
              <a:gd name="connsiteY3" fmla="*/ 4552950 h 4552950"/>
              <a:gd name="connsiteX4" fmla="*/ 0 w 4462921"/>
              <a:gd name="connsiteY4" fmla="*/ 3543300 h 4552950"/>
              <a:gd name="connsiteX5" fmla="*/ 3282950 w 4462921"/>
              <a:gd name="connsiteY5" fmla="*/ 2286000 h 4552950"/>
              <a:gd name="connsiteX6" fmla="*/ 0 w 4462921"/>
              <a:gd name="connsiteY6" fmla="*/ 1016000 h 4552950"/>
              <a:gd name="connsiteX7" fmla="*/ 0 w 4462921"/>
              <a:gd name="connsiteY7" fmla="*/ 0 h 4552950"/>
              <a:gd name="connsiteX0" fmla="*/ 0 w 4462921"/>
              <a:gd name="connsiteY0" fmla="*/ 0 h 4552950"/>
              <a:gd name="connsiteX1" fmla="*/ 4462462 w 4462921"/>
              <a:gd name="connsiteY1" fmla="*/ 1819275 h 4552950"/>
              <a:gd name="connsiteX2" fmla="*/ 4462463 w 4462921"/>
              <a:gd name="connsiteY2" fmla="*/ 2747962 h 4552950"/>
              <a:gd name="connsiteX3" fmla="*/ 0 w 4462921"/>
              <a:gd name="connsiteY3" fmla="*/ 4552950 h 4552950"/>
              <a:gd name="connsiteX4" fmla="*/ 0 w 4462921"/>
              <a:gd name="connsiteY4" fmla="*/ 3543300 h 4552950"/>
              <a:gd name="connsiteX5" fmla="*/ 3282950 w 4462921"/>
              <a:gd name="connsiteY5" fmla="*/ 2286000 h 4552950"/>
              <a:gd name="connsiteX6" fmla="*/ 0 w 4462921"/>
              <a:gd name="connsiteY6" fmla="*/ 1016000 h 4552950"/>
              <a:gd name="connsiteX7" fmla="*/ 0 w 4462921"/>
              <a:gd name="connsiteY7" fmla="*/ 0 h 4552950"/>
              <a:gd name="connsiteX0" fmla="*/ 0 w 4462921"/>
              <a:gd name="connsiteY0" fmla="*/ 0 h 4560094"/>
              <a:gd name="connsiteX1" fmla="*/ 4462462 w 4462921"/>
              <a:gd name="connsiteY1" fmla="*/ 1819275 h 4560094"/>
              <a:gd name="connsiteX2" fmla="*/ 4462463 w 4462921"/>
              <a:gd name="connsiteY2" fmla="*/ 2747962 h 4560094"/>
              <a:gd name="connsiteX3" fmla="*/ 2381 w 4462921"/>
              <a:gd name="connsiteY3" fmla="*/ 4560094 h 4560094"/>
              <a:gd name="connsiteX4" fmla="*/ 0 w 4462921"/>
              <a:gd name="connsiteY4" fmla="*/ 3543300 h 4560094"/>
              <a:gd name="connsiteX5" fmla="*/ 3282950 w 4462921"/>
              <a:gd name="connsiteY5" fmla="*/ 2286000 h 4560094"/>
              <a:gd name="connsiteX6" fmla="*/ 0 w 4462921"/>
              <a:gd name="connsiteY6" fmla="*/ 1016000 h 4560094"/>
              <a:gd name="connsiteX7" fmla="*/ 0 w 4462921"/>
              <a:gd name="connsiteY7" fmla="*/ 0 h 4560094"/>
              <a:gd name="connsiteX0" fmla="*/ 0 w 4462921"/>
              <a:gd name="connsiteY0" fmla="*/ 0 h 4560094"/>
              <a:gd name="connsiteX1" fmla="*/ 4462462 w 4462921"/>
              <a:gd name="connsiteY1" fmla="*/ 1819275 h 4560094"/>
              <a:gd name="connsiteX2" fmla="*/ 4462463 w 4462921"/>
              <a:gd name="connsiteY2" fmla="*/ 2747962 h 4560094"/>
              <a:gd name="connsiteX3" fmla="*/ 2381 w 4462921"/>
              <a:gd name="connsiteY3" fmla="*/ 4560094 h 4560094"/>
              <a:gd name="connsiteX4" fmla="*/ 0 w 4462921"/>
              <a:gd name="connsiteY4" fmla="*/ 3543300 h 4560094"/>
              <a:gd name="connsiteX5" fmla="*/ 3275807 w 4462921"/>
              <a:gd name="connsiteY5" fmla="*/ 2286000 h 4560094"/>
              <a:gd name="connsiteX6" fmla="*/ 0 w 4462921"/>
              <a:gd name="connsiteY6" fmla="*/ 1016000 h 4560094"/>
              <a:gd name="connsiteX7" fmla="*/ 0 w 4462921"/>
              <a:gd name="connsiteY7" fmla="*/ 0 h 4560094"/>
              <a:gd name="connsiteX0" fmla="*/ 0 w 4462921"/>
              <a:gd name="connsiteY0" fmla="*/ 0 h 4557713"/>
              <a:gd name="connsiteX1" fmla="*/ 4462462 w 4462921"/>
              <a:gd name="connsiteY1" fmla="*/ 1819275 h 4557713"/>
              <a:gd name="connsiteX2" fmla="*/ 4462463 w 4462921"/>
              <a:gd name="connsiteY2" fmla="*/ 2747962 h 4557713"/>
              <a:gd name="connsiteX3" fmla="*/ 2381 w 4462921"/>
              <a:gd name="connsiteY3" fmla="*/ 4557713 h 4557713"/>
              <a:gd name="connsiteX4" fmla="*/ 0 w 4462921"/>
              <a:gd name="connsiteY4" fmla="*/ 3543300 h 4557713"/>
              <a:gd name="connsiteX5" fmla="*/ 3275807 w 4462921"/>
              <a:gd name="connsiteY5" fmla="*/ 2286000 h 4557713"/>
              <a:gd name="connsiteX6" fmla="*/ 0 w 4462921"/>
              <a:gd name="connsiteY6" fmla="*/ 1016000 h 4557713"/>
              <a:gd name="connsiteX7" fmla="*/ 0 w 4462921"/>
              <a:gd name="connsiteY7" fmla="*/ 0 h 4557713"/>
              <a:gd name="connsiteX0" fmla="*/ 0 w 4462921"/>
              <a:gd name="connsiteY0" fmla="*/ 0 h 4562475"/>
              <a:gd name="connsiteX1" fmla="*/ 4462462 w 4462921"/>
              <a:gd name="connsiteY1" fmla="*/ 1819275 h 4562475"/>
              <a:gd name="connsiteX2" fmla="*/ 4462463 w 4462921"/>
              <a:gd name="connsiteY2" fmla="*/ 2747962 h 4562475"/>
              <a:gd name="connsiteX3" fmla="*/ 2381 w 4462921"/>
              <a:gd name="connsiteY3" fmla="*/ 4562475 h 4562475"/>
              <a:gd name="connsiteX4" fmla="*/ 0 w 4462921"/>
              <a:gd name="connsiteY4" fmla="*/ 3543300 h 4562475"/>
              <a:gd name="connsiteX5" fmla="*/ 3275807 w 4462921"/>
              <a:gd name="connsiteY5" fmla="*/ 2286000 h 4562475"/>
              <a:gd name="connsiteX6" fmla="*/ 0 w 4462921"/>
              <a:gd name="connsiteY6" fmla="*/ 1016000 h 4562475"/>
              <a:gd name="connsiteX7" fmla="*/ 0 w 4462921"/>
              <a:gd name="connsiteY7" fmla="*/ 0 h 4562475"/>
              <a:gd name="connsiteX0" fmla="*/ 2486 w 4465407"/>
              <a:gd name="connsiteY0" fmla="*/ 0 h 4564856"/>
              <a:gd name="connsiteX1" fmla="*/ 4464948 w 4465407"/>
              <a:gd name="connsiteY1" fmla="*/ 1819275 h 4564856"/>
              <a:gd name="connsiteX2" fmla="*/ 4464949 w 4465407"/>
              <a:gd name="connsiteY2" fmla="*/ 2747962 h 4564856"/>
              <a:gd name="connsiteX3" fmla="*/ 105 w 4465407"/>
              <a:gd name="connsiteY3" fmla="*/ 4564856 h 4564856"/>
              <a:gd name="connsiteX4" fmla="*/ 2486 w 4465407"/>
              <a:gd name="connsiteY4" fmla="*/ 3543300 h 4564856"/>
              <a:gd name="connsiteX5" fmla="*/ 3278293 w 4465407"/>
              <a:gd name="connsiteY5" fmla="*/ 2286000 h 4564856"/>
              <a:gd name="connsiteX6" fmla="*/ 2486 w 4465407"/>
              <a:gd name="connsiteY6" fmla="*/ 1016000 h 4564856"/>
              <a:gd name="connsiteX7" fmla="*/ 2486 w 4465407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47962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50343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55106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8417 w 4467453"/>
              <a:gd name="connsiteY5" fmla="*/ 2286000 h 4564856"/>
              <a:gd name="connsiteX6" fmla="*/ 2610 w 4467453"/>
              <a:gd name="connsiteY6" fmla="*/ 1016000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8417 w 4467453"/>
              <a:gd name="connsiteY5" fmla="*/ 2286000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1273 w 4467453"/>
              <a:gd name="connsiteY5" fmla="*/ 2288382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1273 w 4467453"/>
              <a:gd name="connsiteY5" fmla="*/ 2288382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9275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0763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0763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3145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64129 w 4465530"/>
              <a:gd name="connsiteY5" fmla="*/ 2288382 h 4564856"/>
              <a:gd name="connsiteX6" fmla="*/ 2610 w 4465530"/>
              <a:gd name="connsiteY6" fmla="*/ 1023145 h 4564856"/>
              <a:gd name="connsiteX7" fmla="*/ 2610 w 4465530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5066 w 4467986"/>
              <a:gd name="connsiteY6" fmla="*/ 1023145 h 4564856"/>
              <a:gd name="connsiteX7" fmla="*/ 0 w 4467986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2533 w 4467986"/>
              <a:gd name="connsiteY6" fmla="*/ 1018079 h 4564856"/>
              <a:gd name="connsiteX7" fmla="*/ 0 w 4467986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2533 w 4467986"/>
              <a:gd name="connsiteY6" fmla="*/ 1023145 h 4564856"/>
              <a:gd name="connsiteX7" fmla="*/ 0 w 4467986"/>
              <a:gd name="connsiteY7" fmla="*/ 0 h 4564856"/>
              <a:gd name="connsiteX0" fmla="*/ 0 w 4467986"/>
              <a:gd name="connsiteY0" fmla="*/ 0 h 4567262"/>
              <a:gd name="connsiteX1" fmla="*/ 4467527 w 4467986"/>
              <a:gd name="connsiteY1" fmla="*/ 1814537 h 4567262"/>
              <a:gd name="connsiteX2" fmla="*/ 4467529 w 4467986"/>
              <a:gd name="connsiteY2" fmla="*/ 2757512 h 4567262"/>
              <a:gd name="connsiteX3" fmla="*/ 2685 w 4467986"/>
              <a:gd name="connsiteY3" fmla="*/ 4567262 h 4567262"/>
              <a:gd name="connsiteX4" fmla="*/ 2684 w 4467986"/>
              <a:gd name="connsiteY4" fmla="*/ 3548087 h 4567262"/>
              <a:gd name="connsiteX5" fmla="*/ 3266585 w 4467986"/>
              <a:gd name="connsiteY5" fmla="*/ 2290788 h 4567262"/>
              <a:gd name="connsiteX6" fmla="*/ 2533 w 4467986"/>
              <a:gd name="connsiteY6" fmla="*/ 1025551 h 4567262"/>
              <a:gd name="connsiteX7" fmla="*/ 0 w 4467986"/>
              <a:gd name="connsiteY7" fmla="*/ 0 h 4567262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50493 h 4569668"/>
              <a:gd name="connsiteX5" fmla="*/ 3264555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48111 h 4569668"/>
              <a:gd name="connsiteX5" fmla="*/ 3264555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48111 h 4569668"/>
              <a:gd name="connsiteX5" fmla="*/ 3257411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65956" h="4569668">
                <a:moveTo>
                  <a:pt x="377" y="0"/>
                </a:moveTo>
                <a:lnTo>
                  <a:pt x="4465497" y="1816943"/>
                </a:lnTo>
                <a:cubicBezTo>
                  <a:pt x="4463910" y="2124918"/>
                  <a:pt x="4467086" y="2451943"/>
                  <a:pt x="4465499" y="2759918"/>
                </a:cubicBezTo>
                <a:lnTo>
                  <a:pt x="655" y="4569668"/>
                </a:lnTo>
                <a:cubicBezTo>
                  <a:pt x="-139" y="4230737"/>
                  <a:pt x="1448" y="3887042"/>
                  <a:pt x="654" y="3548111"/>
                </a:cubicBezTo>
                <a:lnTo>
                  <a:pt x="3257411" y="2293194"/>
                </a:lnTo>
                <a:lnTo>
                  <a:pt x="503" y="1027957"/>
                </a:lnTo>
                <a:cubicBezTo>
                  <a:pt x="-1186" y="686909"/>
                  <a:pt x="2066" y="341048"/>
                  <a:pt x="37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sz="2216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98905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2836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 txBox="1">
            <a:spLocks/>
          </p:cNvSpPr>
          <p:nvPr userDrawn="1"/>
        </p:nvSpPr>
        <p:spPr>
          <a:xfrm>
            <a:off x="280053" y="6371073"/>
            <a:ext cx="7216425" cy="171451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defPPr>
              <a:defRPr lang="en-US"/>
            </a:defPPr>
            <a:lvl1pPr marL="0" algn="l" defTabSz="815350" rtl="0" eaLnBrk="1" latinLnBrk="0" hangingPunct="1">
              <a:defRPr lang="en-A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919191"/>
                </a:solidFill>
              </a:rPr>
              <a:t>Copyright © 2017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348700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447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vmlDrawing" Target="../drawings/vmlDrawing3.vml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vmlDrawing" Target="../drawings/vmlDrawing5.v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oleObject" Target="../embeddings/oleObject5.bin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tags" Target="../tags/tag11.xml"/><Relationship Id="rId10" Type="http://schemas.openxmlformats.org/officeDocument/2006/relationships/slideLayout" Target="../slideLayouts/slideLayout4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tags" Target="../tags/tag1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62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61.xml"/><Relationship Id="rId16" Type="http://schemas.openxmlformats.org/officeDocument/2006/relationships/vmlDrawing" Target="../drawings/vmlDrawing7.vml"/><Relationship Id="rId20" Type="http://schemas.openxmlformats.org/officeDocument/2006/relationships/oleObject" Target="../embeddings/oleObject7.bin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9.xml"/><Relationship Id="rId19" Type="http://schemas.openxmlformats.org/officeDocument/2006/relationships/tags" Target="../tags/tag15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5" name="think-cell Slide" r:id="rId20" imgW="470" imgH="469" progId="TCLayout.ActiveDocument.1">
                  <p:embed/>
                </p:oleObj>
              </mc:Choice>
              <mc:Fallback>
                <p:oleObj name="think-cell Slide" r:id="rId20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1383" cy="776139"/>
          </a:xfrm>
          <a:prstGeom prst="rect">
            <a:avLst/>
          </a:prstGeom>
        </p:spPr>
        <p:txBody>
          <a:bodyPr vert="horz" lIns="0" tIns="0" rIns="130101" bIns="0" rtlCol="0" anchor="t" anchorCtr="0">
            <a:noAutofit/>
          </a:bodyPr>
          <a:lstStyle/>
          <a:p>
            <a:r>
              <a:rPr lang="en-US" dirty="0"/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5018" y="1764072"/>
            <a:ext cx="11491383" cy="4306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19" y="637216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333" b="1" i="0">
                <a:solidFill>
                  <a:schemeClr val="tx2"/>
                </a:solidFill>
                <a:latin typeface="Arial Bold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cnSubjectTitle_ID_4" hidden="1"/>
          <p:cNvSpPr txBox="1"/>
          <p:nvPr userDrawn="1">
            <p:custDataLst>
              <p:tags r:id="rId18"/>
            </p:custDataLst>
          </p:nvPr>
        </p:nvSpPr>
        <p:spPr bwMode="gray">
          <a:xfrm>
            <a:off x="345018" y="1894418"/>
            <a:ext cx="9313333" cy="3282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buFontTx/>
              <a:buNone/>
            </a:pPr>
            <a:r>
              <a:rPr lang="en-US" sz="2133" b="1" i="0" dirty="0">
                <a:solidFill>
                  <a:schemeClr val="tx1"/>
                </a:solidFill>
              </a:rPr>
              <a:t>Subject Title</a:t>
            </a:r>
          </a:p>
        </p:txBody>
      </p:sp>
      <p:sp>
        <p:nvSpPr>
          <p:cNvPr id="5" name="AcnFootnote_ID_5" hidden="1"/>
          <p:cNvSpPr txBox="1"/>
          <p:nvPr userDrawn="1">
            <p:custDataLst>
              <p:tags r:id="rId19"/>
            </p:custDataLst>
          </p:nvPr>
        </p:nvSpPr>
        <p:spPr bwMode="gray">
          <a:xfrm>
            <a:off x="345018" y="8339796"/>
            <a:ext cx="11491383" cy="451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marL="717533" indent="-717533" algn="l">
              <a:buFontTx/>
              <a:buNone/>
            </a:pPr>
            <a:r>
              <a:rPr lang="en-US" sz="1333" b="0" i="0" dirty="0">
                <a:solidFill>
                  <a:schemeClr val="tx1"/>
                </a:solidFill>
              </a:rPr>
              <a:t>*	Footnote</a:t>
            </a:r>
          </a:p>
          <a:p>
            <a:pPr marL="717533" indent="-717533" algn="l">
              <a:spcBef>
                <a:spcPct val="20000"/>
              </a:spcBef>
              <a:buFontTx/>
              <a:buNone/>
            </a:pPr>
            <a:r>
              <a:rPr lang="en-US" sz="1333" b="0" i="0" dirty="0">
                <a:solidFill>
                  <a:schemeClr val="tx1"/>
                </a:solidFill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1324044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4" r:id="rId12"/>
    <p:sldLayoutId id="2147483676" r:id="rId13"/>
    <p:sldLayoutId id="2147483680" r:id="rId14"/>
  </p:sldLayoutIdLst>
  <p:hf hdr="0" ftr="0" dt="0"/>
  <p:txStyles>
    <p:titleStyle>
      <a:lvl1pPr algn="l" defTabSz="1734634" rtl="0" eaLnBrk="1" latinLnBrk="0" hangingPunct="1">
        <a:lnSpc>
          <a:spcPct val="80000"/>
        </a:lnSpc>
        <a:spcBef>
          <a:spcPct val="0"/>
        </a:spcBef>
        <a:buNone/>
        <a:defRPr sz="3200" b="0" i="0" kern="1200" cap="all" spc="-133" baseline="0">
          <a:solidFill>
            <a:schemeClr val="tx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92613" indent="-192613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tabLst/>
        <a:defRPr sz="2133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228594" indent="-182029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tabLst/>
        <a:defRPr sz="2133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92613" indent="-192613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tabLst/>
        <a:defRPr sz="1867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31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634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951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9269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6586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903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122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853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7" orient="horz" pos="156">
          <p15:clr>
            <a:srgbClr val="F26B43"/>
          </p15:clr>
        </p15:guide>
        <p15:guide id="8" orient="horz" pos="2868">
          <p15:clr>
            <a:srgbClr val="F26B43"/>
          </p15:clr>
        </p15:guide>
        <p15:guide id="9" orient="horz" pos="1524">
          <p15:clr>
            <a:srgbClr val="F26B43"/>
          </p15:clr>
        </p15:guide>
        <p15:guide id="10" orient="horz" pos="308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3" name="think-cell Slide" r:id="rId22" imgW="470" imgH="469" progId="TCLayout.ActiveDocument.1">
                  <p:embed/>
                </p:oleObj>
              </mc:Choice>
              <mc:Fallback>
                <p:oleObj name="think-cell Slide" r:id="rId22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5037" y="332077"/>
            <a:ext cx="11491383" cy="776139"/>
          </a:xfrm>
          <a:prstGeom prst="rect">
            <a:avLst/>
          </a:prstGeom>
        </p:spPr>
        <p:txBody>
          <a:bodyPr vert="horz" lIns="0" tIns="0" rIns="97538" bIns="0" rtlCol="0" anchor="t" anchorCtr="0">
            <a:noAutofit/>
          </a:bodyPr>
          <a:lstStyle/>
          <a:p>
            <a:r>
              <a:rPr lang="en-US" dirty="0"/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5037" y="1764072"/>
            <a:ext cx="11491383" cy="4306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38" y="6372179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333" b="1" i="0">
                <a:solidFill>
                  <a:schemeClr val="tx2"/>
                </a:solidFill>
                <a:latin typeface="Arial Bold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cnSubjectTitle_ID_4" hidden="1"/>
          <p:cNvSpPr txBox="1"/>
          <p:nvPr userDrawn="1">
            <p:custDataLst>
              <p:tags r:id="rId20"/>
            </p:custDataLst>
          </p:nvPr>
        </p:nvSpPr>
        <p:spPr bwMode="gray">
          <a:xfrm>
            <a:off x="345020" y="1894437"/>
            <a:ext cx="9313333" cy="3282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buFontTx/>
              <a:buNone/>
            </a:pPr>
            <a:r>
              <a:rPr lang="en-US" sz="2133" b="1" i="0" dirty="0">
                <a:solidFill>
                  <a:schemeClr val="tx1"/>
                </a:solidFill>
              </a:rPr>
              <a:t>Subject Title</a:t>
            </a:r>
          </a:p>
        </p:txBody>
      </p:sp>
      <p:sp>
        <p:nvSpPr>
          <p:cNvPr id="5" name="AcnFootnote_ID_5" hidden="1"/>
          <p:cNvSpPr txBox="1"/>
          <p:nvPr userDrawn="1">
            <p:custDataLst>
              <p:tags r:id="rId21"/>
            </p:custDataLst>
          </p:nvPr>
        </p:nvSpPr>
        <p:spPr bwMode="gray">
          <a:xfrm>
            <a:off x="345037" y="8339797"/>
            <a:ext cx="11491383" cy="451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marL="717281" indent="-717281" algn="l">
              <a:buFontTx/>
              <a:buNone/>
            </a:pPr>
            <a:r>
              <a:rPr lang="en-US" sz="1333" b="0" i="0" dirty="0">
                <a:solidFill>
                  <a:schemeClr val="tx1"/>
                </a:solidFill>
              </a:rPr>
              <a:t>*	Footnote</a:t>
            </a:r>
          </a:p>
          <a:p>
            <a:pPr marL="717281" indent="-717281" algn="l">
              <a:spcBef>
                <a:spcPct val="20000"/>
              </a:spcBef>
              <a:buFontTx/>
              <a:buNone/>
            </a:pPr>
            <a:r>
              <a:rPr lang="en-US" sz="1333" b="0" i="0" dirty="0">
                <a:solidFill>
                  <a:schemeClr val="tx1"/>
                </a:solidFill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511632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</p:sldLayoutIdLst>
  <p:hf hdr="0" ftr="0" dt="0"/>
  <p:txStyles>
    <p:titleStyle>
      <a:lvl1pPr algn="l" defTabSz="1734019" rtl="0" eaLnBrk="1" latinLnBrk="0" hangingPunct="1">
        <a:lnSpc>
          <a:spcPct val="80000"/>
        </a:lnSpc>
        <a:spcBef>
          <a:spcPct val="0"/>
        </a:spcBef>
        <a:buNone/>
        <a:defRPr sz="3200" b="0" i="0" kern="1200" cap="all" spc="-133" baseline="0">
          <a:solidFill>
            <a:schemeClr val="tx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l" defTabSz="1734019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734019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92557" indent="-192557" algn="l" defTabSz="1734019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tabLst/>
        <a:defRPr sz="2133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734019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734019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228520" indent="-181973" algn="l" defTabSz="1734019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tabLst/>
        <a:defRPr sz="2133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734019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734019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92557" indent="-192557" algn="l" defTabSz="1734019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tabLst/>
        <a:defRPr sz="1867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019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018" algn="l" defTabSz="1734019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019" algn="l" defTabSz="1734019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054" algn="l" defTabSz="1734019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8056" algn="l" defTabSz="1734019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5074" algn="l" defTabSz="1734019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2083" algn="l" defTabSz="1734019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69092" algn="l" defTabSz="1734019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6111" algn="l" defTabSz="1734019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7" orient="horz" pos="156">
          <p15:clr>
            <a:srgbClr val="F26B43"/>
          </p15:clr>
        </p15:guide>
        <p15:guide id="8" orient="horz" pos="2868">
          <p15:clr>
            <a:srgbClr val="F26B43"/>
          </p15:clr>
        </p15:guide>
        <p15:guide id="9" orient="horz" pos="1524">
          <p15:clr>
            <a:srgbClr val="F26B43"/>
          </p15:clr>
        </p15:guide>
        <p15:guide id="10" orient="horz" pos="308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91" name="think-cell Slide" r:id="rId24" imgW="470" imgH="469" progId="TCLayout.ActiveDocument.1">
                  <p:embed/>
                </p:oleObj>
              </mc:Choice>
              <mc:Fallback>
                <p:oleObj name="think-cell Slide" r:id="rId24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5026" y="332077"/>
            <a:ext cx="11491383" cy="776139"/>
          </a:xfrm>
          <a:prstGeom prst="rect">
            <a:avLst/>
          </a:prstGeom>
        </p:spPr>
        <p:txBody>
          <a:bodyPr vert="horz" lIns="0" tIns="0" rIns="97562" bIns="0" rtlCol="0" anchor="t" anchorCtr="0">
            <a:noAutofit/>
          </a:bodyPr>
          <a:lstStyle/>
          <a:p>
            <a:r>
              <a:rPr lang="en-US" dirty="0"/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5026" y="1764072"/>
            <a:ext cx="11491383" cy="4306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27" y="6372169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333" b="1" i="0">
                <a:solidFill>
                  <a:schemeClr val="tx2"/>
                </a:solidFill>
                <a:latin typeface="Arial Bold" charset="0"/>
              </a:defRPr>
            </a:lvl1pPr>
          </a:lstStyle>
          <a:p>
            <a:pPr defTabSz="914264"/>
            <a:fld id="{0D558541-60C9-42A2-8392-FF12533A6B7A}" type="slidenum">
              <a:rPr lang="en-US" smtClean="0">
                <a:solidFill>
                  <a:srgbClr val="919191"/>
                </a:solidFill>
              </a:rPr>
              <a:pPr defTabSz="914264"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4" name="AcnSubjectTitle_ID_4" hidden="1"/>
          <p:cNvSpPr txBox="1"/>
          <p:nvPr userDrawn="1">
            <p:custDataLst>
              <p:tags r:id="rId22"/>
            </p:custDataLst>
          </p:nvPr>
        </p:nvSpPr>
        <p:spPr bwMode="gray">
          <a:xfrm>
            <a:off x="345020" y="1894426"/>
            <a:ext cx="9313333" cy="3282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914264"/>
            <a:r>
              <a:rPr lang="en-US" sz="2133" b="1" dirty="0">
                <a:solidFill>
                  <a:srgbClr val="000000"/>
                </a:solidFill>
                <a:latin typeface="微软雅黑"/>
              </a:rPr>
              <a:t>Subject Title</a:t>
            </a:r>
          </a:p>
        </p:txBody>
      </p:sp>
      <p:sp>
        <p:nvSpPr>
          <p:cNvPr id="5" name="AcnFootnote_ID_5" hidden="1"/>
          <p:cNvSpPr txBox="1"/>
          <p:nvPr userDrawn="1">
            <p:custDataLst>
              <p:tags r:id="rId23"/>
            </p:custDataLst>
          </p:nvPr>
        </p:nvSpPr>
        <p:spPr bwMode="gray">
          <a:xfrm>
            <a:off x="345026" y="8339797"/>
            <a:ext cx="11491383" cy="451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marL="717425" indent="-717425" defTabSz="914264"/>
            <a:r>
              <a:rPr lang="en-US" sz="1333" dirty="0">
                <a:solidFill>
                  <a:srgbClr val="000000"/>
                </a:solidFill>
                <a:latin typeface="微软雅黑"/>
              </a:rPr>
              <a:t>*	Footnote</a:t>
            </a:r>
          </a:p>
          <a:p>
            <a:pPr marL="717425" indent="-717425" defTabSz="914264">
              <a:spcBef>
                <a:spcPct val="20000"/>
              </a:spcBef>
            </a:pPr>
            <a:r>
              <a:rPr lang="en-US" sz="1333" dirty="0">
                <a:solidFill>
                  <a:srgbClr val="000000"/>
                </a:solidFill>
                <a:latin typeface="微软雅黑"/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198914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9" r:id="rId17"/>
    <p:sldLayoutId id="2147483780" r:id="rId18"/>
  </p:sldLayoutIdLst>
  <p:hf hdr="0" ftr="0" dt="0"/>
  <p:txStyles>
    <p:titleStyle>
      <a:lvl1pPr algn="l" defTabSz="1734371" rtl="0" eaLnBrk="1" latinLnBrk="0" hangingPunct="1">
        <a:lnSpc>
          <a:spcPct val="80000"/>
        </a:lnSpc>
        <a:spcBef>
          <a:spcPct val="0"/>
        </a:spcBef>
        <a:buNone/>
        <a:defRPr sz="3200" b="0" i="0" kern="1200" cap="all" spc="-133" baseline="0">
          <a:solidFill>
            <a:schemeClr val="tx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l" defTabSz="1734371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1"/>
          </a:solidFill>
          <a:latin typeface="微软雅黑"/>
          <a:ea typeface="Arial Black" charset="0"/>
          <a:cs typeface="Arial Black" charset="0"/>
        </a:defRPr>
      </a:lvl1pPr>
      <a:lvl2pPr marL="0" indent="0" algn="l" defTabSz="1734371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0" i="0" kern="1200" cap="none" baseline="0">
          <a:solidFill>
            <a:schemeClr val="tx1"/>
          </a:solidFill>
          <a:latin typeface="微软雅黑"/>
          <a:ea typeface="Arial Black" charset="0"/>
          <a:cs typeface="Arial Black" charset="0"/>
        </a:defRPr>
      </a:lvl2pPr>
      <a:lvl3pPr marL="192589" indent="-192589" algn="l" defTabSz="173437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tabLst/>
        <a:defRPr sz="2133" b="0" i="0" kern="1200" cap="none" baseline="0">
          <a:solidFill>
            <a:schemeClr val="tx1"/>
          </a:solidFill>
          <a:latin typeface="微软雅黑"/>
          <a:ea typeface="Arial Black" charset="0"/>
          <a:cs typeface="Arial Black" charset="0"/>
        </a:defRPr>
      </a:lvl3pPr>
      <a:lvl4pPr marL="0" indent="0" algn="l" defTabSz="1734371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2"/>
          </a:solidFill>
          <a:latin typeface="微软雅黑"/>
          <a:ea typeface="Arial Black" charset="0"/>
          <a:cs typeface="Arial Black" charset="0"/>
        </a:defRPr>
      </a:lvl4pPr>
      <a:lvl5pPr marL="0" indent="0" algn="l" defTabSz="1734371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0" i="0" kern="1200" cap="none" baseline="0">
          <a:solidFill>
            <a:schemeClr val="tx2"/>
          </a:solidFill>
          <a:latin typeface="微软雅黑"/>
          <a:ea typeface="Arial Black" charset="0"/>
          <a:cs typeface="Arial Black" charset="0"/>
        </a:defRPr>
      </a:lvl5pPr>
      <a:lvl6pPr marL="228562" indent="-182005" algn="l" defTabSz="173437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tabLst/>
        <a:defRPr sz="2133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734371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734371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92589" indent="-192589" algn="l" defTabSz="173437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tabLst/>
        <a:defRPr sz="1867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37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189" algn="l" defTabSz="173437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371" algn="l" defTabSz="173437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566" algn="l" defTabSz="173437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8749" algn="l" defTabSz="173437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5938" algn="l" defTabSz="173437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123" algn="l" defTabSz="173437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0308" algn="l" defTabSz="173437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7497" algn="l" defTabSz="173437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7" orient="horz" pos="156">
          <p15:clr>
            <a:srgbClr val="F26B43"/>
          </p15:clr>
        </p15:guide>
        <p15:guide id="8" orient="horz" pos="2868">
          <p15:clr>
            <a:srgbClr val="F26B43"/>
          </p15:clr>
        </p15:guide>
        <p15:guide id="9" orient="horz" pos="1524">
          <p15:clr>
            <a:srgbClr val="F26B43"/>
          </p15:clr>
        </p15:guide>
        <p15:guide id="10" orient="horz" pos="308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D2C92540-D0FA-45B6-8F12-D9EC30464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7CC22C6-677B-4AA9-8047-F14D9EB6DC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54A60B6-B567-442C-B90F-32752743FB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E761AB-7A83-47F0-BFD0-16B7F12C31FD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2018/12/26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689C332-5025-44D5-A94F-727832CF24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6B43C34-99CC-45A9-87AF-83C68A0D6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6CFB6-3FE5-4195-966D-31B0EA720168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等线"/>
                <a:ea typeface="等线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等线"/>
              <a:ea typeface="等线"/>
            </a:endParaRPr>
          </a:p>
        </p:txBody>
      </p:sp>
    </p:spTree>
    <p:extLst>
      <p:ext uri="{BB962C8B-B14F-4D97-AF65-F5344CB8AC3E}">
        <p14:creationId xmlns:p14="http://schemas.microsoft.com/office/powerpoint/2010/main" val="2632578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14" name="think-cell Slide" r:id="rId20" imgW="470" imgH="469" progId="TCLayout.ActiveDocument.1">
                  <p:embed/>
                </p:oleObj>
              </mc:Choice>
              <mc:Fallback>
                <p:oleObj name="think-cell Slide" r:id="rId20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1383" cy="776139"/>
          </a:xfrm>
          <a:prstGeom prst="rect">
            <a:avLst/>
          </a:prstGeom>
        </p:spPr>
        <p:txBody>
          <a:bodyPr vert="horz" lIns="0" tIns="0" rIns="130101" bIns="0" rtlCol="0" anchor="t" anchorCtr="0">
            <a:noAutofit/>
          </a:bodyPr>
          <a:lstStyle/>
          <a:p>
            <a:r>
              <a:rPr lang="en-US" dirty="0"/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5018" y="1764072"/>
            <a:ext cx="11491383" cy="4306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19" y="637216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333" b="1" i="0">
                <a:solidFill>
                  <a:schemeClr val="tx2"/>
                </a:solidFill>
                <a:latin typeface="Arial Bold" charset="0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4" name="AcnSubjectTitle_ID_4" hidden="1"/>
          <p:cNvSpPr txBox="1"/>
          <p:nvPr userDrawn="1">
            <p:custDataLst>
              <p:tags r:id="rId18"/>
            </p:custDataLst>
          </p:nvPr>
        </p:nvSpPr>
        <p:spPr bwMode="gray">
          <a:xfrm>
            <a:off x="345018" y="1894418"/>
            <a:ext cx="9313333" cy="3282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sz="2133" b="1" dirty="0">
                <a:solidFill>
                  <a:srgbClr val="000000"/>
                </a:solidFill>
                <a:latin typeface="Arial"/>
              </a:rPr>
              <a:t>Subject Title</a:t>
            </a:r>
          </a:p>
        </p:txBody>
      </p:sp>
      <p:sp>
        <p:nvSpPr>
          <p:cNvPr id="5" name="AcnFootnote_ID_5" hidden="1"/>
          <p:cNvSpPr txBox="1"/>
          <p:nvPr userDrawn="1">
            <p:custDataLst>
              <p:tags r:id="rId19"/>
            </p:custDataLst>
          </p:nvPr>
        </p:nvSpPr>
        <p:spPr bwMode="gray">
          <a:xfrm>
            <a:off x="345018" y="8339796"/>
            <a:ext cx="11491383" cy="451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marL="717533" indent="-717533"/>
            <a:r>
              <a:rPr lang="en-US" sz="1333" dirty="0">
                <a:solidFill>
                  <a:srgbClr val="000000"/>
                </a:solidFill>
                <a:latin typeface="Arial"/>
              </a:rPr>
              <a:t>*	Footnote</a:t>
            </a:r>
          </a:p>
          <a:p>
            <a:pPr marL="717533" indent="-717533">
              <a:spcBef>
                <a:spcPct val="20000"/>
              </a:spcBef>
            </a:pPr>
            <a:r>
              <a:rPr lang="en-US" sz="1333" dirty="0">
                <a:solidFill>
                  <a:srgbClr val="000000"/>
                </a:solidFill>
                <a:latin typeface="Arial"/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3462540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  <p:sldLayoutId id="2147484009" r:id="rId12"/>
    <p:sldLayoutId id="2147484010" r:id="rId13"/>
    <p:sldLayoutId id="2147484011" r:id="rId14"/>
  </p:sldLayoutIdLst>
  <p:hf hdr="0" ftr="0" dt="0"/>
  <p:txStyles>
    <p:titleStyle>
      <a:lvl1pPr algn="l" defTabSz="1734634" rtl="0" eaLnBrk="1" latinLnBrk="0" hangingPunct="1">
        <a:lnSpc>
          <a:spcPct val="80000"/>
        </a:lnSpc>
        <a:spcBef>
          <a:spcPct val="0"/>
        </a:spcBef>
        <a:buNone/>
        <a:defRPr sz="3200" b="0" i="0" kern="1200" cap="all" spc="-133" baseline="0">
          <a:solidFill>
            <a:schemeClr val="tx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92613" indent="-192613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tabLst/>
        <a:defRPr sz="2133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228594" indent="-182029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tabLst/>
        <a:defRPr sz="2133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92613" indent="-192613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tabLst/>
        <a:defRPr sz="1867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31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634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951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9269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6586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903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122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853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7" orient="horz" pos="156">
          <p15:clr>
            <a:srgbClr val="F26B43"/>
          </p15:clr>
        </p15:guide>
        <p15:guide id="8" orient="horz" pos="2868">
          <p15:clr>
            <a:srgbClr val="F26B43"/>
          </p15:clr>
        </p15:guide>
        <p15:guide id="9" orient="horz" pos="1524">
          <p15:clr>
            <a:srgbClr val="F26B43"/>
          </p15:clr>
        </p15:guide>
        <p15:guide id="10" orient="horz" pos="30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5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5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C4DEA47-9FC2-4108-B441-A3BADD2A6C98}"/>
              </a:ext>
            </a:extLst>
          </p:cNvPr>
          <p:cNvSpPr txBox="1"/>
          <p:nvPr/>
        </p:nvSpPr>
        <p:spPr>
          <a:xfrm>
            <a:off x="1105546" y="2216260"/>
            <a:ext cx="628714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dirty="0"/>
              <a:t>数据科学计算平台搭建</a:t>
            </a:r>
            <a:endParaRPr lang="en-US" sz="4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AE09FE5-C8B8-4D0F-B256-EDDFC17D42FF}"/>
              </a:ext>
            </a:extLst>
          </p:cNvPr>
          <p:cNvSpPr txBox="1"/>
          <p:nvPr/>
        </p:nvSpPr>
        <p:spPr>
          <a:xfrm>
            <a:off x="4169014" y="3381520"/>
            <a:ext cx="366799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 err="1"/>
              <a:t>Guangqiang.Lu</a:t>
            </a:r>
            <a:r>
              <a:rPr lang="en-US" altLang="zh-CN" sz="2400" dirty="0"/>
              <a:t>  &amp;  </a:t>
            </a:r>
            <a:r>
              <a:rPr lang="en-US" altLang="zh-CN" sz="2400" dirty="0" err="1"/>
              <a:t>Jin.Yao</a:t>
            </a:r>
            <a:endParaRPr lang="en-US" altLang="zh-CN" sz="2400" dirty="0"/>
          </a:p>
          <a:p>
            <a:endParaRPr lang="en-US" sz="2400" dirty="0"/>
          </a:p>
          <a:p>
            <a:r>
              <a:rPr lang="en-US" sz="2400" dirty="0"/>
              <a:t>2018/</a:t>
            </a:r>
            <a:r>
              <a:rPr lang="en-US" altLang="zh-CN" sz="2400" dirty="0"/>
              <a:t>12</a:t>
            </a:r>
            <a:r>
              <a:rPr lang="en-US" sz="2400" dirty="0"/>
              <a:t>/</a:t>
            </a:r>
            <a:r>
              <a:rPr lang="en-US" altLang="zh-CN" sz="2400" dirty="0"/>
              <a:t>17</a:t>
            </a:r>
            <a:endParaRPr lang="en-US" sz="2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2783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A6A18B9-990B-4958-9582-6C4BDA169EA5}"/>
              </a:ext>
            </a:extLst>
          </p:cNvPr>
          <p:cNvSpPr txBox="1"/>
          <p:nvPr/>
        </p:nvSpPr>
        <p:spPr>
          <a:xfrm>
            <a:off x="485614" y="630265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其他平台对比</a:t>
            </a:r>
            <a:endParaRPr lang="en-US" sz="2000" b="1" cap="all" dirty="0">
              <a:latin typeface="Segoe UI Light"/>
              <a:cs typeface="Segoe UI Light"/>
              <a:sym typeface="Segoe UI Light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9F459C90-5E98-4243-8BBC-715D0B5B6E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5006188"/>
              </p:ext>
            </p:extLst>
          </p:nvPr>
        </p:nvGraphicFramePr>
        <p:xfrm>
          <a:off x="1034943" y="2057688"/>
          <a:ext cx="4771756" cy="31652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E601DCD-32F3-4390-9439-67AF1B1D0866}"/>
              </a:ext>
            </a:extLst>
          </p:cNvPr>
          <p:cNvSpPr txBox="1"/>
          <p:nvPr/>
        </p:nvSpPr>
        <p:spPr>
          <a:xfrm>
            <a:off x="1034943" y="1450404"/>
            <a:ext cx="47717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/>
              <a:t>现有框架的优势与局限</a:t>
            </a:r>
            <a:endParaRPr lang="en-US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CFA11F-F15C-47C6-9E15-56A6EFA08DC5}"/>
              </a:ext>
            </a:extLst>
          </p:cNvPr>
          <p:cNvSpPr txBox="1"/>
          <p:nvPr/>
        </p:nvSpPr>
        <p:spPr>
          <a:xfrm>
            <a:off x="6385303" y="1450404"/>
            <a:ext cx="4318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/>
              <a:t>平台优点</a:t>
            </a:r>
            <a:endParaRPr lang="en-US" b="1" dirty="0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30D7CE16-2012-4B9F-8C3E-2F94810B09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120996"/>
              </p:ext>
            </p:extLst>
          </p:nvPr>
        </p:nvGraphicFramePr>
        <p:xfrm>
          <a:off x="5877706" y="1450404"/>
          <a:ext cx="5722112" cy="45472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6841903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A6A18B9-990B-4958-9582-6C4BDA169EA5}"/>
              </a:ext>
            </a:extLst>
          </p:cNvPr>
          <p:cNvSpPr txBox="1"/>
          <p:nvPr/>
        </p:nvSpPr>
        <p:spPr>
          <a:xfrm>
            <a:off x="485614" y="630265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后台实现</a:t>
            </a:r>
            <a:endParaRPr lang="en-US" sz="2000" b="1" cap="all" dirty="0">
              <a:latin typeface="Segoe UI Light"/>
              <a:cs typeface="Segoe UI Light"/>
              <a:sym typeface="Segoe UI Light"/>
            </a:endParaRPr>
          </a:p>
        </p:txBody>
      </p:sp>
      <p:sp>
        <p:nvSpPr>
          <p:cNvPr id="8" name="圆角矩形 3">
            <a:extLst>
              <a:ext uri="{FF2B5EF4-FFF2-40B4-BE49-F238E27FC236}">
                <a16:creationId xmlns:a16="http://schemas.microsoft.com/office/drawing/2014/main" id="{7CC7A71A-95AA-4B0F-8D4E-DEE707007CA0}"/>
              </a:ext>
            </a:extLst>
          </p:cNvPr>
          <p:cNvSpPr/>
          <p:nvPr/>
        </p:nvSpPr>
        <p:spPr>
          <a:xfrm>
            <a:off x="1088916" y="4666605"/>
            <a:ext cx="1680652" cy="728729"/>
          </a:xfrm>
          <a:prstGeom prst="roundRect">
            <a:avLst/>
          </a:prstGeom>
        </p:spPr>
        <p:style>
          <a:lnRef idx="1">
            <a:schemeClr val="accent1"/>
          </a:lnRef>
          <a:fillRef idx="1001">
            <a:schemeClr val="dk2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文本格式数据如</a:t>
            </a:r>
            <a:r>
              <a:rPr kumimoji="1" lang="en-US" altLang="zh-CN" dirty="0"/>
              <a:t>csv</a:t>
            </a:r>
            <a:endParaRPr kumimoji="1" lang="zh-CN" altLang="en-US" dirty="0"/>
          </a:p>
        </p:txBody>
      </p:sp>
      <p:sp>
        <p:nvSpPr>
          <p:cNvPr id="9" name="罐形 4">
            <a:extLst>
              <a:ext uri="{FF2B5EF4-FFF2-40B4-BE49-F238E27FC236}">
                <a16:creationId xmlns:a16="http://schemas.microsoft.com/office/drawing/2014/main" id="{24B7C01D-ED26-4F40-94EC-569F7C476BBC}"/>
              </a:ext>
            </a:extLst>
          </p:cNvPr>
          <p:cNvSpPr/>
          <p:nvPr/>
        </p:nvSpPr>
        <p:spPr>
          <a:xfrm>
            <a:off x="2769568" y="3635718"/>
            <a:ext cx="1342106" cy="548352"/>
          </a:xfrm>
          <a:prstGeom prst="can">
            <a:avLst/>
          </a:prstGeom>
        </p:spPr>
        <p:style>
          <a:lnRef idx="1">
            <a:schemeClr val="accent1"/>
          </a:lnRef>
          <a:fillRef idx="1001">
            <a:schemeClr val="dk2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特征工程</a:t>
            </a:r>
          </a:p>
        </p:txBody>
      </p:sp>
      <p:sp>
        <p:nvSpPr>
          <p:cNvPr id="11" name="罐形 6">
            <a:extLst>
              <a:ext uri="{FF2B5EF4-FFF2-40B4-BE49-F238E27FC236}">
                <a16:creationId xmlns:a16="http://schemas.microsoft.com/office/drawing/2014/main" id="{555B208D-5E8D-4DBC-9908-FE72C0FFAC68}"/>
              </a:ext>
            </a:extLst>
          </p:cNvPr>
          <p:cNvSpPr/>
          <p:nvPr/>
        </p:nvSpPr>
        <p:spPr>
          <a:xfrm>
            <a:off x="6853919" y="2283602"/>
            <a:ext cx="1297597" cy="642920"/>
          </a:xfrm>
          <a:prstGeom prst="can">
            <a:avLst/>
          </a:prstGeom>
        </p:spPr>
        <p:style>
          <a:lnRef idx="1">
            <a:schemeClr val="accent1"/>
          </a:lnRef>
          <a:fillRef idx="1001">
            <a:schemeClr val="dk2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模型训练及评估</a:t>
            </a:r>
          </a:p>
        </p:txBody>
      </p:sp>
      <p:sp>
        <p:nvSpPr>
          <p:cNvPr id="12" name="圆角矩形 7">
            <a:extLst>
              <a:ext uri="{FF2B5EF4-FFF2-40B4-BE49-F238E27FC236}">
                <a16:creationId xmlns:a16="http://schemas.microsoft.com/office/drawing/2014/main" id="{F6580605-C3D2-48AE-A0C2-935C3E7449EB}"/>
              </a:ext>
            </a:extLst>
          </p:cNvPr>
          <p:cNvSpPr/>
          <p:nvPr/>
        </p:nvSpPr>
        <p:spPr>
          <a:xfrm>
            <a:off x="8742559" y="2185868"/>
            <a:ext cx="1227909" cy="740654"/>
          </a:xfrm>
          <a:prstGeom prst="roundRect">
            <a:avLst/>
          </a:prstGeom>
        </p:spPr>
        <p:style>
          <a:lnRef idx="1">
            <a:schemeClr val="accent1"/>
          </a:lnRef>
          <a:fillRef idx="1001">
            <a:schemeClr val="dk2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模型部署</a:t>
            </a:r>
          </a:p>
        </p:txBody>
      </p:sp>
      <p:sp>
        <p:nvSpPr>
          <p:cNvPr id="13" name="上箭头 10">
            <a:extLst>
              <a:ext uri="{FF2B5EF4-FFF2-40B4-BE49-F238E27FC236}">
                <a16:creationId xmlns:a16="http://schemas.microsoft.com/office/drawing/2014/main" id="{0B9B1661-A705-4473-8574-6DEE71C91134}"/>
              </a:ext>
            </a:extLst>
          </p:cNvPr>
          <p:cNvSpPr/>
          <p:nvPr/>
        </p:nvSpPr>
        <p:spPr>
          <a:xfrm>
            <a:off x="3216926" y="4304366"/>
            <a:ext cx="577261" cy="242143"/>
          </a:xfrm>
          <a:prstGeom prst="upArrow">
            <a:avLst/>
          </a:prstGeom>
        </p:spPr>
        <p:style>
          <a:lnRef idx="1">
            <a:schemeClr val="accent1"/>
          </a:lnRef>
          <a:fillRef idx="1001">
            <a:schemeClr val="dk2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4" name="上箭头 11">
            <a:extLst>
              <a:ext uri="{FF2B5EF4-FFF2-40B4-BE49-F238E27FC236}">
                <a16:creationId xmlns:a16="http://schemas.microsoft.com/office/drawing/2014/main" id="{86CE36A5-C681-4410-91AF-50D09B6A41EF}"/>
              </a:ext>
            </a:extLst>
          </p:cNvPr>
          <p:cNvSpPr/>
          <p:nvPr/>
        </p:nvSpPr>
        <p:spPr>
          <a:xfrm>
            <a:off x="3216925" y="3231101"/>
            <a:ext cx="577261" cy="242143"/>
          </a:xfrm>
          <a:prstGeom prst="upArrow">
            <a:avLst/>
          </a:prstGeom>
        </p:spPr>
        <p:style>
          <a:lnRef idx="1">
            <a:schemeClr val="accent1"/>
          </a:lnRef>
          <a:fillRef idx="1001">
            <a:schemeClr val="dk2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5" name="上箭头 12">
            <a:extLst>
              <a:ext uri="{FF2B5EF4-FFF2-40B4-BE49-F238E27FC236}">
                <a16:creationId xmlns:a16="http://schemas.microsoft.com/office/drawing/2014/main" id="{611C712F-EFCE-4489-988C-344E8A6B920B}"/>
              </a:ext>
            </a:extLst>
          </p:cNvPr>
          <p:cNvSpPr/>
          <p:nvPr/>
        </p:nvSpPr>
        <p:spPr>
          <a:xfrm rot="5400000">
            <a:off x="6299281" y="2488006"/>
            <a:ext cx="568763" cy="234113"/>
          </a:xfrm>
          <a:prstGeom prst="upArrow">
            <a:avLst/>
          </a:prstGeom>
        </p:spPr>
        <p:style>
          <a:lnRef idx="1">
            <a:schemeClr val="accent1"/>
          </a:lnRef>
          <a:fillRef idx="1001">
            <a:schemeClr val="dk2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6" name="上箭头 13">
            <a:extLst>
              <a:ext uri="{FF2B5EF4-FFF2-40B4-BE49-F238E27FC236}">
                <a16:creationId xmlns:a16="http://schemas.microsoft.com/office/drawing/2014/main" id="{D6B72A73-A730-4402-9390-B8935CFC0D03}"/>
              </a:ext>
            </a:extLst>
          </p:cNvPr>
          <p:cNvSpPr/>
          <p:nvPr/>
        </p:nvSpPr>
        <p:spPr>
          <a:xfrm rot="5400000">
            <a:off x="8162656" y="2485788"/>
            <a:ext cx="568763" cy="234113"/>
          </a:xfrm>
          <a:prstGeom prst="upArrow">
            <a:avLst/>
          </a:prstGeom>
        </p:spPr>
        <p:style>
          <a:lnRef idx="1">
            <a:schemeClr val="accent1"/>
          </a:lnRef>
          <a:fillRef idx="1001">
            <a:schemeClr val="dk2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7" name="圆角矩形 14">
            <a:extLst>
              <a:ext uri="{FF2B5EF4-FFF2-40B4-BE49-F238E27FC236}">
                <a16:creationId xmlns:a16="http://schemas.microsoft.com/office/drawing/2014/main" id="{7FA25A96-A181-4C0C-9FBB-690B99C9BCFC}"/>
              </a:ext>
            </a:extLst>
          </p:cNvPr>
          <p:cNvSpPr/>
          <p:nvPr/>
        </p:nvSpPr>
        <p:spPr>
          <a:xfrm>
            <a:off x="2913882" y="4666605"/>
            <a:ext cx="1544142" cy="728729"/>
          </a:xfrm>
          <a:prstGeom prst="roundRect">
            <a:avLst/>
          </a:prstGeom>
        </p:spPr>
        <p:style>
          <a:lnRef idx="1">
            <a:schemeClr val="accent1"/>
          </a:lnRef>
          <a:fillRef idx="1001">
            <a:schemeClr val="dk2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关系型数据库如</a:t>
            </a:r>
            <a:r>
              <a:rPr kumimoji="1" lang="en-US" altLang="zh-CN" dirty="0"/>
              <a:t>MySQL</a:t>
            </a:r>
            <a:endParaRPr kumimoji="1" lang="zh-CN" altLang="en-US" dirty="0"/>
          </a:p>
        </p:txBody>
      </p:sp>
      <p:sp>
        <p:nvSpPr>
          <p:cNvPr id="18" name="圆角矩形 15">
            <a:extLst>
              <a:ext uri="{FF2B5EF4-FFF2-40B4-BE49-F238E27FC236}">
                <a16:creationId xmlns:a16="http://schemas.microsoft.com/office/drawing/2014/main" id="{0DBB9A79-0907-4F90-9B2F-A343A2CAF0D0}"/>
              </a:ext>
            </a:extLst>
          </p:cNvPr>
          <p:cNvSpPr/>
          <p:nvPr/>
        </p:nvSpPr>
        <p:spPr>
          <a:xfrm>
            <a:off x="4617639" y="4666605"/>
            <a:ext cx="1774163" cy="728729"/>
          </a:xfrm>
          <a:prstGeom prst="roundRect">
            <a:avLst/>
          </a:prstGeom>
        </p:spPr>
        <p:style>
          <a:lnRef idx="1">
            <a:schemeClr val="accent1"/>
          </a:lnRef>
          <a:fillRef idx="1001">
            <a:schemeClr val="dk2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/>
              <a:t>数据仓库如</a:t>
            </a:r>
            <a:r>
              <a:rPr kumimoji="1" lang="en-US" altLang="zh-CN" dirty="0"/>
              <a:t>Hive</a:t>
            </a:r>
            <a:endParaRPr kumimoji="1" lang="zh-CN" altLang="en-US" dirty="0"/>
          </a:p>
        </p:txBody>
      </p:sp>
      <p:sp>
        <p:nvSpPr>
          <p:cNvPr id="19" name="圆角矩形 3">
            <a:extLst>
              <a:ext uri="{FF2B5EF4-FFF2-40B4-BE49-F238E27FC236}">
                <a16:creationId xmlns:a16="http://schemas.microsoft.com/office/drawing/2014/main" id="{FFA3D9E9-D980-4929-9F81-C2F27DF3C2AC}"/>
              </a:ext>
            </a:extLst>
          </p:cNvPr>
          <p:cNvSpPr/>
          <p:nvPr/>
        </p:nvSpPr>
        <p:spPr>
          <a:xfrm>
            <a:off x="1010520" y="2237079"/>
            <a:ext cx="1680652" cy="809250"/>
          </a:xfrm>
          <a:prstGeom prst="roundRect">
            <a:avLst/>
          </a:prstGeom>
        </p:spPr>
        <p:style>
          <a:lnRef idx="1">
            <a:schemeClr val="accent1"/>
          </a:lnRef>
          <a:fillRef idx="1001">
            <a:schemeClr val="dk2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err="1"/>
              <a:t>Sklearn</a:t>
            </a:r>
            <a:r>
              <a:rPr kumimoji="1" lang="zh-CN" altLang="en-US" dirty="0"/>
              <a:t>框架</a:t>
            </a:r>
            <a:r>
              <a:rPr kumimoji="1" lang="en-US" altLang="zh-CN" dirty="0"/>
              <a:t>(</a:t>
            </a:r>
            <a:r>
              <a:rPr kumimoji="1" lang="zh-CN" altLang="en-US" dirty="0"/>
              <a:t>分类、回归</a:t>
            </a:r>
            <a:endParaRPr kumimoji="1" lang="en-US" altLang="zh-CN" dirty="0"/>
          </a:p>
          <a:p>
            <a:pPr algn="ctr"/>
            <a:r>
              <a:rPr kumimoji="1" lang="zh-CN" altLang="en-US" dirty="0"/>
              <a:t>聚类</a:t>
            </a:r>
            <a:r>
              <a:rPr kumimoji="1" lang="en-US" altLang="zh-CN" dirty="0"/>
              <a:t>)</a:t>
            </a:r>
            <a:endParaRPr kumimoji="1" lang="zh-CN" altLang="en-US" dirty="0"/>
          </a:p>
        </p:txBody>
      </p:sp>
      <p:sp>
        <p:nvSpPr>
          <p:cNvPr id="20" name="圆角矩形 14">
            <a:extLst>
              <a:ext uri="{FF2B5EF4-FFF2-40B4-BE49-F238E27FC236}">
                <a16:creationId xmlns:a16="http://schemas.microsoft.com/office/drawing/2014/main" id="{1AA4ACE6-565E-40F3-8473-77468CDE59E9}"/>
              </a:ext>
            </a:extLst>
          </p:cNvPr>
          <p:cNvSpPr/>
          <p:nvPr/>
        </p:nvSpPr>
        <p:spPr>
          <a:xfrm>
            <a:off x="2835486" y="2237079"/>
            <a:ext cx="1544142" cy="809250"/>
          </a:xfrm>
          <a:prstGeom prst="roundRect">
            <a:avLst/>
          </a:prstGeom>
        </p:spPr>
        <p:style>
          <a:lnRef idx="1">
            <a:schemeClr val="accent1"/>
          </a:lnRef>
          <a:fillRef idx="1001">
            <a:schemeClr val="dk2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err="1"/>
              <a:t>PySpark</a:t>
            </a:r>
            <a:r>
              <a:rPr kumimoji="1" lang="zh-CN" altLang="en-US" dirty="0"/>
              <a:t>框架</a:t>
            </a:r>
            <a:r>
              <a:rPr kumimoji="1" lang="en-US" altLang="zh-CN" dirty="0"/>
              <a:t>(</a:t>
            </a:r>
            <a:r>
              <a:rPr kumimoji="1" lang="zh-CN" altLang="en-US" dirty="0"/>
              <a:t>分类、回归、聚类、推荐</a:t>
            </a:r>
            <a:r>
              <a:rPr kumimoji="1" lang="en-US" altLang="zh-CN" dirty="0"/>
              <a:t>)</a:t>
            </a:r>
            <a:endParaRPr kumimoji="1" lang="zh-CN" altLang="en-US" dirty="0"/>
          </a:p>
        </p:txBody>
      </p:sp>
      <p:sp>
        <p:nvSpPr>
          <p:cNvPr id="21" name="圆角矩形 15">
            <a:extLst>
              <a:ext uri="{FF2B5EF4-FFF2-40B4-BE49-F238E27FC236}">
                <a16:creationId xmlns:a16="http://schemas.microsoft.com/office/drawing/2014/main" id="{48375384-0F99-4BEC-BB9C-B19EB6288047}"/>
              </a:ext>
            </a:extLst>
          </p:cNvPr>
          <p:cNvSpPr/>
          <p:nvPr/>
        </p:nvSpPr>
        <p:spPr>
          <a:xfrm>
            <a:off x="4539243" y="2237079"/>
            <a:ext cx="1774163" cy="809250"/>
          </a:xfrm>
          <a:prstGeom prst="roundRect">
            <a:avLst/>
          </a:prstGeom>
        </p:spPr>
        <p:style>
          <a:lnRef idx="1">
            <a:schemeClr val="accent1"/>
          </a:lnRef>
          <a:fillRef idx="1001">
            <a:schemeClr val="dk2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TensorFlow</a:t>
            </a:r>
            <a:r>
              <a:rPr kumimoji="1" lang="zh-CN" altLang="en-US" dirty="0"/>
              <a:t>框架</a:t>
            </a:r>
            <a:r>
              <a:rPr kumimoji="1" lang="en-US" altLang="zh-CN" dirty="0"/>
              <a:t>(</a:t>
            </a:r>
            <a:r>
              <a:rPr kumimoji="1" lang="zh-CN" altLang="en-US" dirty="0"/>
              <a:t>分类、回归、推荐</a:t>
            </a:r>
            <a:r>
              <a:rPr kumimoji="1" lang="en-US" altLang="zh-CN" dirty="0"/>
              <a:t>)</a:t>
            </a:r>
            <a:endParaRPr kumimoji="1" lang="zh-CN" altLang="en-US" dirty="0"/>
          </a:p>
        </p:txBody>
      </p:sp>
      <p:sp>
        <p:nvSpPr>
          <p:cNvPr id="23" name="Arrow: Left-Up 22">
            <a:extLst>
              <a:ext uri="{FF2B5EF4-FFF2-40B4-BE49-F238E27FC236}">
                <a16:creationId xmlns:a16="http://schemas.microsoft.com/office/drawing/2014/main" id="{B99C14DF-5EB5-4F80-9AC0-213F1993E229}"/>
              </a:ext>
            </a:extLst>
          </p:cNvPr>
          <p:cNvSpPr/>
          <p:nvPr/>
        </p:nvSpPr>
        <p:spPr>
          <a:xfrm>
            <a:off x="4327395" y="3249632"/>
            <a:ext cx="3313526" cy="820277"/>
          </a:xfrm>
          <a:prstGeom prst="leftUpArrow">
            <a:avLst/>
          </a:prstGeom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Curved Down 23">
            <a:extLst>
              <a:ext uri="{FF2B5EF4-FFF2-40B4-BE49-F238E27FC236}">
                <a16:creationId xmlns:a16="http://schemas.microsoft.com/office/drawing/2014/main" id="{C739D4E1-1789-4C55-965D-4FB202D76CCD}"/>
              </a:ext>
            </a:extLst>
          </p:cNvPr>
          <p:cNvSpPr/>
          <p:nvPr/>
        </p:nvSpPr>
        <p:spPr>
          <a:xfrm>
            <a:off x="7168896" y="1686906"/>
            <a:ext cx="768096" cy="498962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7337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72759E8-09E6-46C4-8770-1E836DCB1737}"/>
              </a:ext>
            </a:extLst>
          </p:cNvPr>
          <p:cNvSpPr txBox="1"/>
          <p:nvPr/>
        </p:nvSpPr>
        <p:spPr>
          <a:xfrm>
            <a:off x="485614" y="630265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创建模型</a:t>
            </a:r>
            <a:endParaRPr lang="en-US" sz="2000" b="1" cap="all" dirty="0">
              <a:latin typeface="Segoe UI Light"/>
              <a:cs typeface="Segoe UI Light"/>
              <a:sym typeface="Segoe UI Ligh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838957E-EFB2-4BED-92CD-01D4D39C88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1661" y="1128791"/>
            <a:ext cx="7374088" cy="5293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394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A6A18B9-990B-4958-9582-6C4BDA169EA5}"/>
              </a:ext>
            </a:extLst>
          </p:cNvPr>
          <p:cNvSpPr txBox="1"/>
          <p:nvPr/>
        </p:nvSpPr>
        <p:spPr>
          <a:xfrm>
            <a:off x="485614" y="630265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模型列表</a:t>
            </a:r>
            <a:endParaRPr lang="en-US" sz="2000" b="1" cap="all" dirty="0">
              <a:latin typeface="Segoe UI Light"/>
              <a:cs typeface="Segoe UI Light"/>
              <a:sym typeface="Segoe UI Ligh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74C59AE-8082-41E9-A8A3-DB13DF6642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9177" y="1282430"/>
            <a:ext cx="6833645" cy="4819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3638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87DD049-AF0F-4AEE-B216-665539B481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7174" y="1197680"/>
            <a:ext cx="7207162" cy="507021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C1211D-8BDA-4BE7-B0A7-42A00BCEF4B4}"/>
              </a:ext>
            </a:extLst>
          </p:cNvPr>
          <p:cNvSpPr txBox="1"/>
          <p:nvPr/>
        </p:nvSpPr>
        <p:spPr>
          <a:xfrm>
            <a:off x="485614" y="630265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查看历史版本</a:t>
            </a:r>
            <a:endParaRPr lang="en-US" sz="2000" b="1" cap="all" dirty="0">
              <a:latin typeface="Segoe UI Light"/>
              <a:cs typeface="Segoe UI Light"/>
              <a:sym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8715947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8230618-A497-4DC1-95CA-93A9D81EA8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4720" y="1198996"/>
            <a:ext cx="7176146" cy="517848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9419010-B10C-413B-9D9E-71E192C4D91D}"/>
              </a:ext>
            </a:extLst>
          </p:cNvPr>
          <p:cNvSpPr txBox="1"/>
          <p:nvPr/>
        </p:nvSpPr>
        <p:spPr>
          <a:xfrm>
            <a:off x="485614" y="630265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训练模型</a:t>
            </a:r>
            <a:endParaRPr lang="en-US" sz="2000" b="1" cap="all" dirty="0">
              <a:latin typeface="Segoe UI Light"/>
              <a:cs typeface="Segoe UI Light"/>
              <a:sym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4284971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A71F155-452F-4BB6-80A8-ED5E046DB8C9}"/>
              </a:ext>
            </a:extLst>
          </p:cNvPr>
          <p:cNvSpPr txBox="1"/>
          <p:nvPr/>
        </p:nvSpPr>
        <p:spPr>
          <a:xfrm>
            <a:off x="485614" y="630265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测试模型</a:t>
            </a:r>
            <a:endParaRPr lang="en-US" sz="2000" b="1" cap="all" dirty="0">
              <a:latin typeface="Segoe UI Light"/>
              <a:cs typeface="Segoe UI Light"/>
              <a:sym typeface="Segoe UI Ligh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A91D49A-E153-48FE-9886-6900F03BAD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4344" y="1304938"/>
            <a:ext cx="7262624" cy="5123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4004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1916F11-8B7F-45DD-93FC-A45E9673552B}"/>
              </a:ext>
            </a:extLst>
          </p:cNvPr>
          <p:cNvSpPr txBox="1"/>
          <p:nvPr/>
        </p:nvSpPr>
        <p:spPr>
          <a:xfrm>
            <a:off x="485614" y="630265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发布模型</a:t>
            </a:r>
            <a:endParaRPr lang="en-US" sz="2000" b="1" cap="all" dirty="0">
              <a:latin typeface="Segoe UI Light"/>
              <a:cs typeface="Segoe UI Light"/>
              <a:sym typeface="Segoe UI Ligh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293AD77-DC26-4453-8B8A-1678967EA0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1814" y="1169011"/>
            <a:ext cx="7259524" cy="5138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877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F9116CF-8684-446A-8969-38F8E20B420E}"/>
              </a:ext>
            </a:extLst>
          </p:cNvPr>
          <p:cNvSpPr txBox="1"/>
          <p:nvPr/>
        </p:nvSpPr>
        <p:spPr>
          <a:xfrm>
            <a:off x="485614" y="630265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整体架构</a:t>
            </a:r>
            <a:endParaRPr lang="en-US" sz="2000" b="1" cap="all" dirty="0">
              <a:latin typeface="Segoe UI Light"/>
              <a:cs typeface="Segoe UI Light"/>
              <a:sym typeface="Segoe UI Light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3EE3E7A-B9D3-442A-983B-7556EF19F853}"/>
              </a:ext>
            </a:extLst>
          </p:cNvPr>
          <p:cNvSpPr/>
          <p:nvPr/>
        </p:nvSpPr>
        <p:spPr>
          <a:xfrm>
            <a:off x="1816707" y="1253957"/>
            <a:ext cx="8441410" cy="485614"/>
          </a:xfrm>
          <a:prstGeom prst="roundRect">
            <a:avLst>
              <a:gd name="adj" fmla="val 37234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/>
              <a:t>     用户层</a:t>
            </a:r>
            <a:endParaRPr lang="en-US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BC50E78-2B37-4237-9C39-D85376150135}"/>
              </a:ext>
            </a:extLst>
          </p:cNvPr>
          <p:cNvSpPr/>
          <p:nvPr/>
        </p:nvSpPr>
        <p:spPr>
          <a:xfrm>
            <a:off x="3769505" y="1346958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普通用户</a:t>
            </a:r>
            <a:endParaRPr lang="en-US" sz="1600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9DB27A8-8ECF-4E48-81DC-9AF5FC35974B}"/>
              </a:ext>
            </a:extLst>
          </p:cNvPr>
          <p:cNvSpPr/>
          <p:nvPr/>
        </p:nvSpPr>
        <p:spPr>
          <a:xfrm>
            <a:off x="8030705" y="1327246"/>
            <a:ext cx="1498169" cy="308410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管理员</a:t>
            </a:r>
            <a:endParaRPr lang="en-US" sz="1600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DF74725-D7B9-401F-8484-3F2666DE4A78}"/>
              </a:ext>
            </a:extLst>
          </p:cNvPr>
          <p:cNvSpPr/>
          <p:nvPr/>
        </p:nvSpPr>
        <p:spPr>
          <a:xfrm>
            <a:off x="1816707" y="2009615"/>
            <a:ext cx="8441410" cy="2376406"/>
          </a:xfrm>
          <a:prstGeom prst="roundRect">
            <a:avLst>
              <a:gd name="adj" fmla="val 9159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/>
              <a:t>     应用层</a:t>
            </a:r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7AAA410-ACD3-427A-ACA9-8CD825BE6E09}"/>
              </a:ext>
            </a:extLst>
          </p:cNvPr>
          <p:cNvSpPr/>
          <p:nvPr/>
        </p:nvSpPr>
        <p:spPr>
          <a:xfrm>
            <a:off x="8033711" y="2502884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文本分类</a:t>
            </a:r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E0B018-E78E-42F5-85F9-DD0B25DB1CAB}"/>
              </a:ext>
            </a:extLst>
          </p:cNvPr>
          <p:cNvSpPr txBox="1"/>
          <p:nvPr/>
        </p:nvSpPr>
        <p:spPr>
          <a:xfrm>
            <a:off x="5804116" y="2009615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</a:rPr>
              <a:t>计算机视觉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2A7E55-5C3C-4876-994B-C212CBCF8478}"/>
              </a:ext>
            </a:extLst>
          </p:cNvPr>
          <p:cNvSpPr txBox="1"/>
          <p:nvPr/>
        </p:nvSpPr>
        <p:spPr>
          <a:xfrm>
            <a:off x="7915700" y="2009615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</a:rPr>
              <a:t>自然语言处理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790D9E-6808-4EC3-903C-D103FD4D29E6}"/>
              </a:ext>
            </a:extLst>
          </p:cNvPr>
          <p:cNvSpPr txBox="1"/>
          <p:nvPr/>
        </p:nvSpPr>
        <p:spPr>
          <a:xfrm>
            <a:off x="3848746" y="2009615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</a:rPr>
              <a:t>机器学习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C97AEAB-E363-4DE6-9200-CF08BCDB0C04}"/>
              </a:ext>
            </a:extLst>
          </p:cNvPr>
          <p:cNvSpPr/>
          <p:nvPr/>
        </p:nvSpPr>
        <p:spPr>
          <a:xfrm>
            <a:off x="5901608" y="2502883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图片分类</a:t>
            </a:r>
            <a:endParaRPr lang="en-US" sz="1600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14DA963-CFB8-4329-9D34-2735C7B2D718}"/>
              </a:ext>
            </a:extLst>
          </p:cNvPr>
          <p:cNvSpPr/>
          <p:nvPr/>
        </p:nvSpPr>
        <p:spPr>
          <a:xfrm>
            <a:off x="3769505" y="3889898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智能推荐</a:t>
            </a:r>
            <a:endParaRPr lang="en-US" sz="1600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C2AE433-CC4B-4144-A329-7FA205409886}"/>
              </a:ext>
            </a:extLst>
          </p:cNvPr>
          <p:cNvSpPr/>
          <p:nvPr/>
        </p:nvSpPr>
        <p:spPr>
          <a:xfrm>
            <a:off x="3769505" y="3422364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回归</a:t>
            </a:r>
            <a:endParaRPr lang="en-US" sz="1600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45907F4-783C-4F6F-A299-F720619B15DA}"/>
              </a:ext>
            </a:extLst>
          </p:cNvPr>
          <p:cNvSpPr/>
          <p:nvPr/>
        </p:nvSpPr>
        <p:spPr>
          <a:xfrm>
            <a:off x="3769506" y="2970419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聚类</a:t>
            </a:r>
            <a:endParaRPr lang="en-US" sz="1600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6E2BCD4A-DAC4-4857-8F20-C19077622A9C}"/>
              </a:ext>
            </a:extLst>
          </p:cNvPr>
          <p:cNvSpPr/>
          <p:nvPr/>
        </p:nvSpPr>
        <p:spPr>
          <a:xfrm>
            <a:off x="3769505" y="2502885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分类</a:t>
            </a:r>
            <a:endParaRPr lang="en-US" sz="1600" dirty="0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670C0B1-685E-4B3A-93C4-7DD246C974A1}"/>
              </a:ext>
            </a:extLst>
          </p:cNvPr>
          <p:cNvSpPr/>
          <p:nvPr/>
        </p:nvSpPr>
        <p:spPr>
          <a:xfrm>
            <a:off x="8030705" y="2931716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情感分析</a:t>
            </a:r>
            <a:endParaRPr lang="en-US" sz="1600" dirty="0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36A2598B-A86A-440D-ADE1-20EAC4994FB1}"/>
              </a:ext>
            </a:extLst>
          </p:cNvPr>
          <p:cNvSpPr/>
          <p:nvPr/>
        </p:nvSpPr>
        <p:spPr>
          <a:xfrm>
            <a:off x="8030705" y="3404369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自动问答</a:t>
            </a:r>
            <a:endParaRPr lang="en-US" sz="1600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B1CD05B-405A-461B-BDA7-7942029FBE45}"/>
              </a:ext>
            </a:extLst>
          </p:cNvPr>
          <p:cNvCxnSpPr>
            <a:cxnSpLocks/>
          </p:cNvCxnSpPr>
          <p:nvPr/>
        </p:nvCxnSpPr>
        <p:spPr>
          <a:xfrm>
            <a:off x="5625885" y="2194281"/>
            <a:ext cx="0" cy="1979752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C1C27BC-F088-4E19-80F9-FEC5D13E8555}"/>
              </a:ext>
            </a:extLst>
          </p:cNvPr>
          <p:cNvCxnSpPr>
            <a:cxnSpLocks/>
          </p:cNvCxnSpPr>
          <p:nvPr/>
        </p:nvCxnSpPr>
        <p:spPr>
          <a:xfrm>
            <a:off x="7720740" y="2207942"/>
            <a:ext cx="0" cy="1979752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253E46F5-1B6C-4EA1-91AF-91254CB091FB}"/>
              </a:ext>
            </a:extLst>
          </p:cNvPr>
          <p:cNvSpPr/>
          <p:nvPr/>
        </p:nvSpPr>
        <p:spPr>
          <a:xfrm>
            <a:off x="5924228" y="2961352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人脸识别</a:t>
            </a:r>
            <a:endParaRPr lang="en-US" sz="1600" dirty="0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9CD0397-73A7-49C8-AA98-76FA9B8503C5}"/>
              </a:ext>
            </a:extLst>
          </p:cNvPr>
          <p:cNvSpPr/>
          <p:nvPr/>
        </p:nvSpPr>
        <p:spPr>
          <a:xfrm>
            <a:off x="5937144" y="3454620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目标检测</a:t>
            </a:r>
            <a:endParaRPr lang="en-US" sz="1600" dirty="0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9A7FDF6F-52D2-43A8-A761-77F1D3C2D884}"/>
              </a:ext>
            </a:extLst>
          </p:cNvPr>
          <p:cNvSpPr/>
          <p:nvPr/>
        </p:nvSpPr>
        <p:spPr>
          <a:xfrm>
            <a:off x="1816707" y="4667594"/>
            <a:ext cx="8441410" cy="485614"/>
          </a:xfrm>
          <a:prstGeom prst="roundRect">
            <a:avLst>
              <a:gd name="adj" fmla="val 37234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/>
              <a:t>     框架层</a:t>
            </a:r>
            <a:endParaRPr lang="en-US" dirty="0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F8964A77-364D-462D-8FC9-1D313844CD16}"/>
              </a:ext>
            </a:extLst>
          </p:cNvPr>
          <p:cNvSpPr/>
          <p:nvPr/>
        </p:nvSpPr>
        <p:spPr>
          <a:xfrm>
            <a:off x="3797940" y="4776063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err="1"/>
              <a:t>sklearn</a:t>
            </a:r>
            <a:endParaRPr lang="en-US" sz="1600" dirty="0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AB3954D1-AFF2-41FF-BBC0-A8A688B37926}"/>
              </a:ext>
            </a:extLst>
          </p:cNvPr>
          <p:cNvSpPr/>
          <p:nvPr/>
        </p:nvSpPr>
        <p:spPr>
          <a:xfrm>
            <a:off x="5959943" y="4776064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err="1"/>
              <a:t>pyspark</a:t>
            </a:r>
            <a:endParaRPr lang="en-US" sz="1600" dirty="0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FBFD1134-2842-43BB-9B7C-FB06DF91F660}"/>
              </a:ext>
            </a:extLst>
          </p:cNvPr>
          <p:cNvSpPr/>
          <p:nvPr/>
        </p:nvSpPr>
        <p:spPr>
          <a:xfrm>
            <a:off x="8096114" y="4768332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err="1"/>
              <a:t>tensorflow</a:t>
            </a:r>
            <a:endParaRPr lang="en-US" sz="1600" dirty="0"/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7E482F42-B6C8-4A1C-8520-B6095CF74652}"/>
              </a:ext>
            </a:extLst>
          </p:cNvPr>
          <p:cNvSpPr/>
          <p:nvPr/>
        </p:nvSpPr>
        <p:spPr>
          <a:xfrm>
            <a:off x="1816707" y="5511041"/>
            <a:ext cx="8441410" cy="1163561"/>
          </a:xfrm>
          <a:prstGeom prst="roundRect">
            <a:avLst>
              <a:gd name="adj" fmla="val 18297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/>
              <a:t>     大数据层</a:t>
            </a:r>
            <a:endParaRPr lang="en-US" dirty="0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17E395AC-A3E0-495E-A5B6-600F984876FA}"/>
              </a:ext>
            </a:extLst>
          </p:cNvPr>
          <p:cNvSpPr/>
          <p:nvPr/>
        </p:nvSpPr>
        <p:spPr>
          <a:xfrm>
            <a:off x="3797940" y="5920034"/>
            <a:ext cx="1498169" cy="27325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  <a:p>
            <a:pPr algn="ctr"/>
            <a:r>
              <a:rPr lang="en-US" sz="1600" dirty="0"/>
              <a:t>Kubernetes</a:t>
            </a:r>
          </a:p>
          <a:p>
            <a:pPr algn="ctr"/>
            <a:endParaRPr lang="en-US" sz="16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A2ACFD9-743C-4E95-93C0-57C265357E2E}"/>
              </a:ext>
            </a:extLst>
          </p:cNvPr>
          <p:cNvSpPr txBox="1"/>
          <p:nvPr/>
        </p:nvSpPr>
        <p:spPr>
          <a:xfrm>
            <a:off x="5906226" y="5556144"/>
            <a:ext cx="805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err="1">
                <a:solidFill>
                  <a:schemeClr val="bg1"/>
                </a:solidFill>
              </a:rPr>
              <a:t>CLake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1EF5FD2-0445-420F-9A09-6A9A4F402DCF}"/>
              </a:ext>
            </a:extLst>
          </p:cNvPr>
          <p:cNvSpPr/>
          <p:nvPr/>
        </p:nvSpPr>
        <p:spPr>
          <a:xfrm>
            <a:off x="5421805" y="5920034"/>
            <a:ext cx="1498169" cy="27325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  <a:p>
            <a:pPr algn="ctr"/>
            <a:r>
              <a:rPr lang="en-US" sz="1600" dirty="0"/>
              <a:t>Docker</a:t>
            </a:r>
          </a:p>
          <a:p>
            <a:pPr algn="ctr"/>
            <a:endParaRPr lang="en-US" sz="1600" dirty="0"/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791B4AF1-5A1E-4A90-AF48-904E026EC902}"/>
              </a:ext>
            </a:extLst>
          </p:cNvPr>
          <p:cNvSpPr/>
          <p:nvPr/>
        </p:nvSpPr>
        <p:spPr>
          <a:xfrm>
            <a:off x="7045670" y="5920034"/>
            <a:ext cx="1498169" cy="27325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  <a:p>
            <a:pPr algn="ctr"/>
            <a:r>
              <a:rPr lang="en-US" sz="1600" dirty="0"/>
              <a:t>Hadoop</a:t>
            </a:r>
          </a:p>
          <a:p>
            <a:pPr algn="ctr"/>
            <a:endParaRPr lang="en-US" sz="1600" dirty="0"/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FCA15780-E88F-46ED-80F3-218ABAA4A2F6}"/>
              </a:ext>
            </a:extLst>
          </p:cNvPr>
          <p:cNvSpPr/>
          <p:nvPr/>
        </p:nvSpPr>
        <p:spPr>
          <a:xfrm>
            <a:off x="8669535" y="5920034"/>
            <a:ext cx="1498169" cy="27325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  <a:p>
            <a:pPr algn="ctr"/>
            <a:r>
              <a:rPr lang="en-US" sz="1600" dirty="0"/>
              <a:t>Spark</a:t>
            </a:r>
          </a:p>
          <a:p>
            <a:pPr algn="ctr"/>
            <a:endParaRPr lang="en-US" sz="1600" dirty="0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CA048C1C-F860-48DF-8E16-7D0F74305774}"/>
              </a:ext>
            </a:extLst>
          </p:cNvPr>
          <p:cNvSpPr/>
          <p:nvPr/>
        </p:nvSpPr>
        <p:spPr>
          <a:xfrm>
            <a:off x="3797939" y="6329027"/>
            <a:ext cx="1498169" cy="27325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  <a:p>
            <a:pPr algn="ctr"/>
            <a:r>
              <a:rPr lang="en-US" sz="1600" dirty="0"/>
              <a:t>Zookeeper</a:t>
            </a:r>
          </a:p>
          <a:p>
            <a:pPr algn="ctr"/>
            <a:endParaRPr lang="en-US" sz="1600" dirty="0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47A7E363-B3D7-44FD-9253-F4B5E502EC68}"/>
              </a:ext>
            </a:extLst>
          </p:cNvPr>
          <p:cNvSpPr/>
          <p:nvPr/>
        </p:nvSpPr>
        <p:spPr>
          <a:xfrm>
            <a:off x="5421804" y="6329027"/>
            <a:ext cx="1498169" cy="27325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  <a:p>
            <a:pPr algn="ctr"/>
            <a:r>
              <a:rPr lang="en-US" sz="1600" dirty="0"/>
              <a:t>Hive</a:t>
            </a:r>
          </a:p>
          <a:p>
            <a:pPr algn="ctr"/>
            <a:endParaRPr lang="en-US" sz="1600" dirty="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6CD637F5-898F-42BB-8CA9-C1CA7EDBBC51}"/>
              </a:ext>
            </a:extLst>
          </p:cNvPr>
          <p:cNvSpPr/>
          <p:nvPr/>
        </p:nvSpPr>
        <p:spPr>
          <a:xfrm>
            <a:off x="7045670" y="6291058"/>
            <a:ext cx="1498169" cy="27325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  <a:p>
            <a:pPr algn="ctr"/>
            <a:r>
              <a:rPr lang="en-US" sz="1600" dirty="0"/>
              <a:t>Kafka</a:t>
            </a:r>
          </a:p>
          <a:p>
            <a:pPr algn="ctr"/>
            <a:endParaRPr lang="en-US" sz="1600" dirty="0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206C8154-7476-4BCE-8F44-860371ECD4CD}"/>
              </a:ext>
            </a:extLst>
          </p:cNvPr>
          <p:cNvSpPr/>
          <p:nvPr/>
        </p:nvSpPr>
        <p:spPr>
          <a:xfrm>
            <a:off x="8669535" y="6272073"/>
            <a:ext cx="1498169" cy="27325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  <a:p>
            <a:pPr algn="ctr"/>
            <a:r>
              <a:rPr lang="en-US" sz="1600" dirty="0"/>
              <a:t>……</a:t>
            </a:r>
          </a:p>
          <a:p>
            <a:pPr algn="ctr"/>
            <a:endParaRPr lang="en-US" sz="1600" dirty="0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A793B88D-7039-4CA0-8120-F593CAA10D4C}"/>
              </a:ext>
            </a:extLst>
          </p:cNvPr>
          <p:cNvSpPr/>
          <p:nvPr/>
        </p:nvSpPr>
        <p:spPr>
          <a:xfrm>
            <a:off x="5901607" y="1321053"/>
            <a:ext cx="1498169" cy="308410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高级用户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449930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EC8BA42-1839-4104-A9A3-78046A6472CE}"/>
              </a:ext>
            </a:extLst>
          </p:cNvPr>
          <p:cNvSpPr/>
          <p:nvPr/>
        </p:nvSpPr>
        <p:spPr>
          <a:xfrm>
            <a:off x="1170956" y="2333683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普通用户</a:t>
            </a:r>
            <a:endParaRPr lang="en-US" sz="1600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0D1D3A1-B26D-42C2-BE4C-D283FD072A3F}"/>
              </a:ext>
            </a:extLst>
          </p:cNvPr>
          <p:cNvSpPr/>
          <p:nvPr/>
        </p:nvSpPr>
        <p:spPr>
          <a:xfrm>
            <a:off x="1170956" y="3635541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高级用户</a:t>
            </a:r>
            <a:endParaRPr lang="en-US" sz="1600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1129F12-97FC-4535-8661-9A483D88C55B}"/>
              </a:ext>
            </a:extLst>
          </p:cNvPr>
          <p:cNvSpPr/>
          <p:nvPr/>
        </p:nvSpPr>
        <p:spPr>
          <a:xfrm>
            <a:off x="1170955" y="5660654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管理员</a:t>
            </a:r>
            <a:endParaRPr lang="en-US" sz="1600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007046A-A5BC-4ACE-94B7-DC9960B13DE2}"/>
              </a:ext>
            </a:extLst>
          </p:cNvPr>
          <p:cNvCxnSpPr/>
          <p:nvPr/>
        </p:nvCxnSpPr>
        <p:spPr>
          <a:xfrm flipV="1">
            <a:off x="2903349" y="1694481"/>
            <a:ext cx="1033220" cy="7180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5439BD2-7477-486B-B3CB-0149F1913CCF}"/>
              </a:ext>
            </a:extLst>
          </p:cNvPr>
          <p:cNvCxnSpPr>
            <a:cxnSpLocks/>
          </p:cNvCxnSpPr>
          <p:nvPr/>
        </p:nvCxnSpPr>
        <p:spPr>
          <a:xfrm flipV="1">
            <a:off x="5677545" y="1616990"/>
            <a:ext cx="24280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3A8B38D-6654-4B19-A80E-7C98C9AE902D}"/>
              </a:ext>
            </a:extLst>
          </p:cNvPr>
          <p:cNvSpPr/>
          <p:nvPr/>
        </p:nvSpPr>
        <p:spPr>
          <a:xfrm>
            <a:off x="4102720" y="1474921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创建模型</a:t>
            </a:r>
            <a:endParaRPr lang="en-US" sz="1600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EF47C61-0458-48F3-A9E1-F1A17EAC545A}"/>
              </a:ext>
            </a:extLst>
          </p:cNvPr>
          <p:cNvSpPr/>
          <p:nvPr/>
        </p:nvSpPr>
        <p:spPr>
          <a:xfrm>
            <a:off x="5997009" y="1454253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训练模型</a:t>
            </a:r>
            <a:endParaRPr lang="en-US" sz="1600" dirty="0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BC744F5-FFEA-4603-AD7D-8047F0C0CE30}"/>
              </a:ext>
            </a:extLst>
          </p:cNvPr>
          <p:cNvSpPr/>
          <p:nvPr/>
        </p:nvSpPr>
        <p:spPr>
          <a:xfrm>
            <a:off x="4134590" y="2191615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管理模型</a:t>
            </a:r>
            <a:endParaRPr lang="en-US" sz="1600" dirty="0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B73E7B5-DA20-4BB8-B707-6070C4E4F70A}"/>
              </a:ext>
            </a:extLst>
          </p:cNvPr>
          <p:cNvCxnSpPr>
            <a:cxnSpLocks/>
          </p:cNvCxnSpPr>
          <p:nvPr/>
        </p:nvCxnSpPr>
        <p:spPr>
          <a:xfrm>
            <a:off x="2894725" y="2833609"/>
            <a:ext cx="1000516" cy="1162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86A0677-0887-492F-83FF-279F60CAD27A}"/>
              </a:ext>
            </a:extLst>
          </p:cNvPr>
          <p:cNvSpPr/>
          <p:nvPr/>
        </p:nvSpPr>
        <p:spPr>
          <a:xfrm>
            <a:off x="4139756" y="2833609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版本管理</a:t>
            </a:r>
            <a:endParaRPr lang="en-US" sz="1600" dirty="0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54E81B63-6B65-4971-BCF6-8557EE213C62}"/>
              </a:ext>
            </a:extLst>
          </p:cNvPr>
          <p:cNvCxnSpPr>
            <a:cxnSpLocks/>
          </p:cNvCxnSpPr>
          <p:nvPr/>
        </p:nvCxnSpPr>
        <p:spPr>
          <a:xfrm flipV="1">
            <a:off x="7538175" y="1616988"/>
            <a:ext cx="27463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0944D1D-EAFF-458E-956B-4B287C464622}"/>
              </a:ext>
            </a:extLst>
          </p:cNvPr>
          <p:cNvCxnSpPr>
            <a:cxnSpLocks/>
          </p:cNvCxnSpPr>
          <p:nvPr/>
        </p:nvCxnSpPr>
        <p:spPr>
          <a:xfrm flipV="1">
            <a:off x="2919681" y="2333683"/>
            <a:ext cx="975560" cy="1873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22A4E935-5C99-4793-B32E-AFDAAD76C389}"/>
              </a:ext>
            </a:extLst>
          </p:cNvPr>
          <p:cNvSpPr/>
          <p:nvPr/>
        </p:nvSpPr>
        <p:spPr>
          <a:xfrm>
            <a:off x="9772752" y="1477490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发布模型</a:t>
            </a:r>
            <a:endParaRPr lang="en-US" sz="1600" dirty="0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1A7DD37E-7103-48CC-94BE-26ABE39605F6}"/>
              </a:ext>
            </a:extLst>
          </p:cNvPr>
          <p:cNvCxnSpPr>
            <a:cxnSpLocks/>
          </p:cNvCxnSpPr>
          <p:nvPr/>
        </p:nvCxnSpPr>
        <p:spPr>
          <a:xfrm flipV="1">
            <a:off x="9443789" y="1583401"/>
            <a:ext cx="27463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D0E25A8-FD6E-4A5F-BA6A-1BDDF78F1786}"/>
              </a:ext>
            </a:extLst>
          </p:cNvPr>
          <p:cNvSpPr/>
          <p:nvPr/>
        </p:nvSpPr>
        <p:spPr>
          <a:xfrm>
            <a:off x="7918457" y="1459417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测试模型</a:t>
            </a:r>
            <a:endParaRPr lang="en-US" sz="1600" dirty="0"/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2AF54629-7A39-4588-8C85-601245425B3B}"/>
              </a:ext>
            </a:extLst>
          </p:cNvPr>
          <p:cNvCxnSpPr>
            <a:cxnSpLocks/>
          </p:cNvCxnSpPr>
          <p:nvPr/>
        </p:nvCxnSpPr>
        <p:spPr>
          <a:xfrm flipV="1">
            <a:off x="2823275" y="3294680"/>
            <a:ext cx="1113294" cy="4197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5690F46A-F651-4574-8236-8A7646EBE8AC}"/>
              </a:ext>
            </a:extLst>
          </p:cNvPr>
          <p:cNvCxnSpPr>
            <a:cxnSpLocks/>
          </p:cNvCxnSpPr>
          <p:nvPr/>
        </p:nvCxnSpPr>
        <p:spPr>
          <a:xfrm flipV="1">
            <a:off x="5726625" y="3365716"/>
            <a:ext cx="24280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9B98A58E-D85B-41F9-B993-D6EB52FA1AD6}"/>
              </a:ext>
            </a:extLst>
          </p:cNvPr>
          <p:cNvSpPr/>
          <p:nvPr/>
        </p:nvSpPr>
        <p:spPr>
          <a:xfrm>
            <a:off x="4151800" y="3223647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创建模型</a:t>
            </a:r>
            <a:endParaRPr lang="en-US" sz="1600" dirty="0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51EC6F8A-1C3C-4571-A5B2-3DB2B36B6C6F}"/>
              </a:ext>
            </a:extLst>
          </p:cNvPr>
          <p:cNvSpPr/>
          <p:nvPr/>
        </p:nvSpPr>
        <p:spPr>
          <a:xfrm>
            <a:off x="6046089" y="3202979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训练模型</a:t>
            </a:r>
            <a:endParaRPr lang="en-US" sz="1600" dirty="0"/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9612C5EC-8FAC-45F6-A2E6-B2DF877AE011}"/>
              </a:ext>
            </a:extLst>
          </p:cNvPr>
          <p:cNvSpPr/>
          <p:nvPr/>
        </p:nvSpPr>
        <p:spPr>
          <a:xfrm>
            <a:off x="4179376" y="3656206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管理模型</a:t>
            </a:r>
            <a:endParaRPr lang="en-US" sz="1600" dirty="0"/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D7757968-5B44-4DEF-85AD-A830F89675EF}"/>
              </a:ext>
            </a:extLst>
          </p:cNvPr>
          <p:cNvSpPr/>
          <p:nvPr/>
        </p:nvSpPr>
        <p:spPr>
          <a:xfrm>
            <a:off x="4179375" y="4088765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版本管理</a:t>
            </a:r>
            <a:endParaRPr lang="en-US" sz="1600" dirty="0"/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0F9F2C1B-0BB6-4BDA-8EA2-77AB6D534C25}"/>
              </a:ext>
            </a:extLst>
          </p:cNvPr>
          <p:cNvCxnSpPr>
            <a:cxnSpLocks/>
          </p:cNvCxnSpPr>
          <p:nvPr/>
        </p:nvCxnSpPr>
        <p:spPr>
          <a:xfrm flipV="1">
            <a:off x="7587255" y="3365714"/>
            <a:ext cx="27463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B403E936-E53F-430B-BEE3-15C0438F3E70}"/>
              </a:ext>
            </a:extLst>
          </p:cNvPr>
          <p:cNvSpPr/>
          <p:nvPr/>
        </p:nvSpPr>
        <p:spPr>
          <a:xfrm>
            <a:off x="9821832" y="3226216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发布模型</a:t>
            </a:r>
            <a:endParaRPr lang="en-US" sz="1600" dirty="0"/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41AE982E-D394-4092-9E27-3E5495C8B799}"/>
              </a:ext>
            </a:extLst>
          </p:cNvPr>
          <p:cNvCxnSpPr>
            <a:cxnSpLocks/>
          </p:cNvCxnSpPr>
          <p:nvPr/>
        </p:nvCxnSpPr>
        <p:spPr>
          <a:xfrm flipV="1">
            <a:off x="9492869" y="3332127"/>
            <a:ext cx="27463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2B321FE1-3D9F-489E-A371-A266DCF21E3C}"/>
              </a:ext>
            </a:extLst>
          </p:cNvPr>
          <p:cNvSpPr/>
          <p:nvPr/>
        </p:nvSpPr>
        <p:spPr>
          <a:xfrm>
            <a:off x="7967537" y="3208143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测试模型</a:t>
            </a:r>
            <a:endParaRPr lang="en-US" sz="1600" dirty="0"/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69EB1FAA-958E-4995-B47E-155797D78AD8}"/>
              </a:ext>
            </a:extLst>
          </p:cNvPr>
          <p:cNvCxnSpPr>
            <a:cxnSpLocks/>
          </p:cNvCxnSpPr>
          <p:nvPr/>
        </p:nvCxnSpPr>
        <p:spPr>
          <a:xfrm flipV="1">
            <a:off x="2879664" y="3714427"/>
            <a:ext cx="1108567" cy="747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C480878E-503B-4F2B-AF0D-4758B0AFB8CE}"/>
              </a:ext>
            </a:extLst>
          </p:cNvPr>
          <p:cNvCxnSpPr>
            <a:cxnSpLocks/>
          </p:cNvCxnSpPr>
          <p:nvPr/>
        </p:nvCxnSpPr>
        <p:spPr>
          <a:xfrm>
            <a:off x="2825638" y="3907949"/>
            <a:ext cx="1219420" cy="2262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318E2D52-CD86-4915-B276-2C543D519604}"/>
              </a:ext>
            </a:extLst>
          </p:cNvPr>
          <p:cNvCxnSpPr>
            <a:cxnSpLocks/>
          </p:cNvCxnSpPr>
          <p:nvPr/>
        </p:nvCxnSpPr>
        <p:spPr>
          <a:xfrm>
            <a:off x="2823275" y="3982650"/>
            <a:ext cx="1164956" cy="5428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F1672FE6-C7A3-4A4B-A384-7535C853FF18}"/>
              </a:ext>
            </a:extLst>
          </p:cNvPr>
          <p:cNvSpPr/>
          <p:nvPr/>
        </p:nvSpPr>
        <p:spPr>
          <a:xfrm>
            <a:off x="4182796" y="4521324"/>
            <a:ext cx="2254168" cy="28412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定制模型算法和参数</a:t>
            </a:r>
            <a:endParaRPr lang="en-US" sz="1600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12C8CF1-D4AC-4BDD-8F43-05DC2812E070}"/>
              </a:ext>
            </a:extLst>
          </p:cNvPr>
          <p:cNvSpPr/>
          <p:nvPr/>
        </p:nvSpPr>
        <p:spPr>
          <a:xfrm>
            <a:off x="6507546" y="4475158"/>
            <a:ext cx="23358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参见</a:t>
            </a:r>
            <a:r>
              <a:rPr lang="en-US" altLang="zh-CN" dirty="0">
                <a:solidFill>
                  <a:srgbClr val="FF0000"/>
                </a:solidFill>
              </a:rPr>
              <a:t>&lt;</a:t>
            </a:r>
            <a:r>
              <a:rPr lang="zh-CN" altLang="en-US" b="1" cap="all" dirty="0">
                <a:solidFill>
                  <a:srgbClr val="FF0000"/>
                </a:solidFill>
                <a:latin typeface="Segoe UI Light"/>
                <a:cs typeface="Segoe UI Light"/>
                <a:sym typeface="Segoe UI Light"/>
              </a:rPr>
              <a:t>平台算法支持</a:t>
            </a:r>
            <a:r>
              <a:rPr lang="en-US" altLang="zh-CN" b="1" cap="all" dirty="0">
                <a:solidFill>
                  <a:srgbClr val="FF0000"/>
                </a:solidFill>
                <a:latin typeface="Segoe UI Light"/>
                <a:cs typeface="Segoe UI Light"/>
                <a:sym typeface="Segoe UI Light"/>
              </a:rPr>
              <a:t>&gt;</a:t>
            </a:r>
            <a:endParaRPr lang="en-US" b="1" cap="all" dirty="0">
              <a:solidFill>
                <a:srgbClr val="FF0000"/>
              </a:solidFill>
              <a:latin typeface="Segoe UI Light"/>
              <a:cs typeface="Segoe UI Light"/>
              <a:sym typeface="Segoe UI Light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06DBCD9A-DC1A-4263-B8DF-F4136BDF8BA5}"/>
              </a:ext>
            </a:extLst>
          </p:cNvPr>
          <p:cNvCxnSpPr>
            <a:cxnSpLocks/>
          </p:cNvCxnSpPr>
          <p:nvPr/>
        </p:nvCxnSpPr>
        <p:spPr>
          <a:xfrm>
            <a:off x="2787112" y="4106539"/>
            <a:ext cx="1201119" cy="9844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51BE14C2-7143-4384-AF7E-AC5E396050EC}"/>
              </a:ext>
            </a:extLst>
          </p:cNvPr>
          <p:cNvSpPr/>
          <p:nvPr/>
        </p:nvSpPr>
        <p:spPr>
          <a:xfrm>
            <a:off x="4182796" y="4974551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分享模型</a:t>
            </a:r>
            <a:endParaRPr lang="en-US" sz="1600" dirty="0"/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6FC45268-89B7-4413-BBDB-1CF875B81465}"/>
              </a:ext>
            </a:extLst>
          </p:cNvPr>
          <p:cNvCxnSpPr>
            <a:cxnSpLocks/>
          </p:cNvCxnSpPr>
          <p:nvPr/>
        </p:nvCxnSpPr>
        <p:spPr>
          <a:xfrm flipV="1">
            <a:off x="2823275" y="5660654"/>
            <a:ext cx="1071966" cy="1291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1952A3F6-8C80-4792-B1DD-2FC3D485C6B7}"/>
              </a:ext>
            </a:extLst>
          </p:cNvPr>
          <p:cNvCxnSpPr>
            <a:cxnSpLocks/>
          </p:cNvCxnSpPr>
          <p:nvPr/>
        </p:nvCxnSpPr>
        <p:spPr>
          <a:xfrm>
            <a:off x="2847157" y="5889137"/>
            <a:ext cx="1048084" cy="1293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984F73D5-440D-474C-A527-C84E3B7C7640}"/>
              </a:ext>
            </a:extLst>
          </p:cNvPr>
          <p:cNvSpPr/>
          <p:nvPr/>
        </p:nvSpPr>
        <p:spPr>
          <a:xfrm>
            <a:off x="4179375" y="5441088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用户管理</a:t>
            </a:r>
            <a:endParaRPr lang="en-US" sz="1600" dirty="0"/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5DE1EE3D-1461-493A-9250-C46113DE098A}"/>
              </a:ext>
            </a:extLst>
          </p:cNvPr>
          <p:cNvCxnSpPr>
            <a:cxnSpLocks/>
          </p:cNvCxnSpPr>
          <p:nvPr/>
        </p:nvCxnSpPr>
        <p:spPr>
          <a:xfrm>
            <a:off x="2797445" y="6053167"/>
            <a:ext cx="1354355" cy="4251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4AE4DB26-8243-4E03-8A99-859B6953C846}"/>
              </a:ext>
            </a:extLst>
          </p:cNvPr>
          <p:cNvSpPr/>
          <p:nvPr/>
        </p:nvSpPr>
        <p:spPr>
          <a:xfrm>
            <a:off x="4179375" y="5900680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模型管理</a:t>
            </a:r>
            <a:endParaRPr lang="en-US" sz="1600" dirty="0"/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F1C52E7D-C56A-41D5-AA19-4A256A694C8F}"/>
              </a:ext>
            </a:extLst>
          </p:cNvPr>
          <p:cNvSpPr/>
          <p:nvPr/>
        </p:nvSpPr>
        <p:spPr>
          <a:xfrm>
            <a:off x="4179375" y="6412115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查询与统计</a:t>
            </a:r>
            <a:endParaRPr lang="en-US" sz="1600" dirty="0"/>
          </a:p>
        </p:txBody>
      </p: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4FA16DE8-D16F-406A-B58E-A926FE946939}"/>
              </a:ext>
            </a:extLst>
          </p:cNvPr>
          <p:cNvCxnSpPr>
            <a:cxnSpLocks/>
          </p:cNvCxnSpPr>
          <p:nvPr/>
        </p:nvCxnSpPr>
        <p:spPr>
          <a:xfrm flipV="1">
            <a:off x="5827365" y="5583155"/>
            <a:ext cx="24280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25C5611D-2C1B-47B5-8925-38070F1BE7BA}"/>
              </a:ext>
            </a:extLst>
          </p:cNvPr>
          <p:cNvSpPr/>
          <p:nvPr/>
        </p:nvSpPr>
        <p:spPr>
          <a:xfrm>
            <a:off x="6203163" y="5441088"/>
            <a:ext cx="2102599" cy="32664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权限管理</a:t>
            </a:r>
            <a:endParaRPr lang="en-US" sz="1600" dirty="0"/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B76A8C82-8CF1-4E54-8C03-5995969C350D}"/>
              </a:ext>
            </a:extLst>
          </p:cNvPr>
          <p:cNvCxnSpPr>
            <a:cxnSpLocks/>
          </p:cNvCxnSpPr>
          <p:nvPr/>
        </p:nvCxnSpPr>
        <p:spPr>
          <a:xfrm flipV="1">
            <a:off x="5754201" y="6064682"/>
            <a:ext cx="24280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CF0A87DD-BFC2-40E0-A4A0-494B2BFDF70F}"/>
              </a:ext>
            </a:extLst>
          </p:cNvPr>
          <p:cNvSpPr/>
          <p:nvPr/>
        </p:nvSpPr>
        <p:spPr>
          <a:xfrm>
            <a:off x="6183747" y="5889137"/>
            <a:ext cx="2122015" cy="34115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模型发布设备管理</a:t>
            </a:r>
            <a:endParaRPr lang="en-US" sz="1600" dirty="0"/>
          </a:p>
        </p:txBody>
      </p: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A25ABF32-2952-4154-AC31-4A2CFE2F553B}"/>
              </a:ext>
            </a:extLst>
          </p:cNvPr>
          <p:cNvCxnSpPr>
            <a:cxnSpLocks/>
          </p:cNvCxnSpPr>
          <p:nvPr/>
        </p:nvCxnSpPr>
        <p:spPr>
          <a:xfrm flipV="1">
            <a:off x="5827365" y="6563762"/>
            <a:ext cx="24280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0CBDD9AB-0913-41B9-BFA7-767A9035AD6D}"/>
              </a:ext>
            </a:extLst>
          </p:cNvPr>
          <p:cNvSpPr/>
          <p:nvPr/>
        </p:nvSpPr>
        <p:spPr>
          <a:xfrm>
            <a:off x="6203162" y="6421695"/>
            <a:ext cx="2102600" cy="274556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根据统计结果优化</a:t>
            </a:r>
            <a:endParaRPr lang="en-US" sz="1600" dirty="0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4658F82-0E23-40B5-98E4-F305B0A77B3A}"/>
              </a:ext>
            </a:extLst>
          </p:cNvPr>
          <p:cNvSpPr txBox="1"/>
          <p:nvPr/>
        </p:nvSpPr>
        <p:spPr>
          <a:xfrm>
            <a:off x="485614" y="630265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用户层</a:t>
            </a:r>
            <a:endParaRPr lang="en-US" sz="2000" b="1" cap="all" dirty="0">
              <a:latin typeface="Segoe UI Light"/>
              <a:cs typeface="Segoe UI Light"/>
              <a:sym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712192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CCC4809-B0F0-4E77-8975-25B0DF69BB75}"/>
              </a:ext>
            </a:extLst>
          </p:cNvPr>
          <p:cNvSpPr/>
          <p:nvPr/>
        </p:nvSpPr>
        <p:spPr>
          <a:xfrm>
            <a:off x="1170956" y="2333683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机器学习</a:t>
            </a:r>
            <a:endParaRPr lang="en-US" sz="1600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08A5333-E4DF-454F-A51A-E6519E523FAD}"/>
              </a:ext>
            </a:extLst>
          </p:cNvPr>
          <p:cNvSpPr/>
          <p:nvPr/>
        </p:nvSpPr>
        <p:spPr>
          <a:xfrm>
            <a:off x="1170956" y="4609351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深度学习</a:t>
            </a:r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72F8DA-4076-4EF8-9214-E2573F00C4AC}"/>
              </a:ext>
            </a:extLst>
          </p:cNvPr>
          <p:cNvSpPr txBox="1"/>
          <p:nvPr/>
        </p:nvSpPr>
        <p:spPr>
          <a:xfrm>
            <a:off x="485614" y="630265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应用层</a:t>
            </a:r>
            <a:endParaRPr lang="en-US" sz="2000" b="1" cap="all" dirty="0">
              <a:latin typeface="Segoe UI Light"/>
              <a:cs typeface="Segoe UI Light"/>
              <a:sym typeface="Segoe UI Light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A4A31FB4-39A4-46FA-B6F3-D0436252A0B3}"/>
              </a:ext>
            </a:extLst>
          </p:cNvPr>
          <p:cNvCxnSpPr/>
          <p:nvPr/>
        </p:nvCxnSpPr>
        <p:spPr>
          <a:xfrm flipV="1">
            <a:off x="2903349" y="1694481"/>
            <a:ext cx="1033220" cy="7180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DC0CCD4-DE0A-4EEA-97BE-F3FA96D173E7}"/>
              </a:ext>
            </a:extLst>
          </p:cNvPr>
          <p:cNvSpPr/>
          <p:nvPr/>
        </p:nvSpPr>
        <p:spPr>
          <a:xfrm>
            <a:off x="4255120" y="2063856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聚类模型</a:t>
            </a:r>
            <a:endParaRPr lang="en-US" sz="1600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19320BB-F454-466D-891B-4B8F59ED9DF8}"/>
              </a:ext>
            </a:extLst>
          </p:cNvPr>
          <p:cNvSpPr/>
          <p:nvPr/>
        </p:nvSpPr>
        <p:spPr>
          <a:xfrm>
            <a:off x="4255120" y="1627321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分类模型</a:t>
            </a:r>
            <a:endParaRPr lang="en-US" sz="1600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4E44AA3-E0F9-4650-902D-B10CFEC2FF70}"/>
              </a:ext>
            </a:extLst>
          </p:cNvPr>
          <p:cNvCxnSpPr>
            <a:cxnSpLocks/>
          </p:cNvCxnSpPr>
          <p:nvPr/>
        </p:nvCxnSpPr>
        <p:spPr>
          <a:xfrm flipV="1">
            <a:off x="2987676" y="2205923"/>
            <a:ext cx="1057382" cy="2698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07F9E47-AE32-44AE-ACFB-6260C2308E32}"/>
              </a:ext>
            </a:extLst>
          </p:cNvPr>
          <p:cNvCxnSpPr>
            <a:cxnSpLocks/>
          </p:cNvCxnSpPr>
          <p:nvPr/>
        </p:nvCxnSpPr>
        <p:spPr>
          <a:xfrm>
            <a:off x="2938637" y="2581655"/>
            <a:ext cx="1230407" cy="943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4EA6E8EB-A015-460F-B9D5-D0B12226ED5A}"/>
              </a:ext>
            </a:extLst>
          </p:cNvPr>
          <p:cNvSpPr/>
          <p:nvPr/>
        </p:nvSpPr>
        <p:spPr>
          <a:xfrm>
            <a:off x="4255120" y="2533973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回归模型</a:t>
            </a:r>
            <a:endParaRPr lang="en-US" sz="1600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D8956A7-0940-48A9-9A9E-FFB79E8CD6BF}"/>
              </a:ext>
            </a:extLst>
          </p:cNvPr>
          <p:cNvCxnSpPr>
            <a:cxnSpLocks/>
          </p:cNvCxnSpPr>
          <p:nvPr/>
        </p:nvCxnSpPr>
        <p:spPr>
          <a:xfrm>
            <a:off x="2901163" y="2750741"/>
            <a:ext cx="1267881" cy="3437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C17E66C5-05FD-47C8-94A7-7C4A464E6498}"/>
              </a:ext>
            </a:extLst>
          </p:cNvPr>
          <p:cNvSpPr/>
          <p:nvPr/>
        </p:nvSpPr>
        <p:spPr>
          <a:xfrm>
            <a:off x="4255120" y="3004090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推荐模型</a:t>
            </a:r>
            <a:endParaRPr lang="en-US" sz="1600" dirty="0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ACF8E06-310E-4415-91F2-23F9ADDDE951}"/>
              </a:ext>
            </a:extLst>
          </p:cNvPr>
          <p:cNvCxnSpPr>
            <a:cxnSpLocks/>
          </p:cNvCxnSpPr>
          <p:nvPr/>
        </p:nvCxnSpPr>
        <p:spPr>
          <a:xfrm flipV="1">
            <a:off x="2882426" y="4158712"/>
            <a:ext cx="1286618" cy="4558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319609E-9913-43C2-BF88-F5A69A56E257}"/>
              </a:ext>
            </a:extLst>
          </p:cNvPr>
          <p:cNvSpPr/>
          <p:nvPr/>
        </p:nvSpPr>
        <p:spPr>
          <a:xfrm>
            <a:off x="4255120" y="3897825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图像识别</a:t>
            </a:r>
            <a:endParaRPr lang="en-US" sz="1600" dirty="0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5BA8DC9-914E-4461-B9DA-3B55ADF1652E}"/>
              </a:ext>
            </a:extLst>
          </p:cNvPr>
          <p:cNvCxnSpPr>
            <a:cxnSpLocks/>
          </p:cNvCxnSpPr>
          <p:nvPr/>
        </p:nvCxnSpPr>
        <p:spPr>
          <a:xfrm>
            <a:off x="2873058" y="4751418"/>
            <a:ext cx="1217843" cy="3371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E2B5CDA9-4B19-4041-B5FF-99262D490AED}"/>
              </a:ext>
            </a:extLst>
          </p:cNvPr>
          <p:cNvSpPr/>
          <p:nvPr/>
        </p:nvSpPr>
        <p:spPr>
          <a:xfrm>
            <a:off x="4255118" y="5898295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自然语言处理</a:t>
            </a:r>
            <a:endParaRPr lang="en-US" sz="1600" dirty="0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0298DB3-BE3D-470F-9E29-3833A2BCE81B}"/>
              </a:ext>
            </a:extLst>
          </p:cNvPr>
          <p:cNvCxnSpPr>
            <a:cxnSpLocks/>
          </p:cNvCxnSpPr>
          <p:nvPr/>
        </p:nvCxnSpPr>
        <p:spPr>
          <a:xfrm>
            <a:off x="2873057" y="4939980"/>
            <a:ext cx="1276288" cy="1100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A07F9AC1-A08B-4B0C-959F-AAF3535C759F}"/>
              </a:ext>
            </a:extLst>
          </p:cNvPr>
          <p:cNvSpPr/>
          <p:nvPr/>
        </p:nvSpPr>
        <p:spPr>
          <a:xfrm>
            <a:off x="4255118" y="4958061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语音识别</a:t>
            </a:r>
            <a:endParaRPr lang="en-US" sz="1600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45E8B671-411F-42EB-8B66-35622CC16138}"/>
              </a:ext>
            </a:extLst>
          </p:cNvPr>
          <p:cNvCxnSpPr>
            <a:cxnSpLocks/>
          </p:cNvCxnSpPr>
          <p:nvPr/>
        </p:nvCxnSpPr>
        <p:spPr>
          <a:xfrm flipV="1">
            <a:off x="5881349" y="2750741"/>
            <a:ext cx="1286618" cy="11340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8DD3D0B-15F6-4862-A68B-11276B7D7C3F}"/>
              </a:ext>
            </a:extLst>
          </p:cNvPr>
          <p:cNvSpPr/>
          <p:nvPr/>
        </p:nvSpPr>
        <p:spPr>
          <a:xfrm>
            <a:off x="7316035" y="2583051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图像分类</a:t>
            </a:r>
            <a:endParaRPr lang="en-US" sz="1600" dirty="0"/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EFA94A94-5D54-43BE-B80F-D22391AC9D7D}"/>
              </a:ext>
            </a:extLst>
          </p:cNvPr>
          <p:cNvCxnSpPr>
            <a:cxnSpLocks/>
          </p:cNvCxnSpPr>
          <p:nvPr/>
        </p:nvCxnSpPr>
        <p:spPr>
          <a:xfrm flipV="1">
            <a:off x="5928808" y="3429000"/>
            <a:ext cx="1293402" cy="5604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03ED4A4B-3FDE-48EE-AC3A-833DAB14F969}"/>
              </a:ext>
            </a:extLst>
          </p:cNvPr>
          <p:cNvSpPr/>
          <p:nvPr/>
        </p:nvSpPr>
        <p:spPr>
          <a:xfrm>
            <a:off x="7343486" y="3246895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人脸识别</a:t>
            </a:r>
            <a:endParaRPr lang="en-US" sz="1600" dirty="0"/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9EA6201F-432F-483A-BF05-2C1EB19EBBF9}"/>
              </a:ext>
            </a:extLst>
          </p:cNvPr>
          <p:cNvSpPr/>
          <p:nvPr/>
        </p:nvSpPr>
        <p:spPr>
          <a:xfrm>
            <a:off x="7343486" y="3829863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目标检测</a:t>
            </a:r>
            <a:endParaRPr lang="en-US" sz="1600" dirty="0"/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9A44DA10-EA5F-4A25-BA74-3077398C25CA}"/>
              </a:ext>
            </a:extLst>
          </p:cNvPr>
          <p:cNvCxnSpPr>
            <a:cxnSpLocks/>
          </p:cNvCxnSpPr>
          <p:nvPr/>
        </p:nvCxnSpPr>
        <p:spPr>
          <a:xfrm flipV="1">
            <a:off x="6081208" y="4035720"/>
            <a:ext cx="1141002" cy="1060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C95E019-2773-418C-AF5B-2358E63C595A}"/>
              </a:ext>
            </a:extLst>
          </p:cNvPr>
          <p:cNvCxnSpPr>
            <a:cxnSpLocks/>
          </p:cNvCxnSpPr>
          <p:nvPr/>
        </p:nvCxnSpPr>
        <p:spPr>
          <a:xfrm>
            <a:off x="8931932" y="3388962"/>
            <a:ext cx="50137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6A298C00-977E-4991-8C07-010E081CD310}"/>
              </a:ext>
            </a:extLst>
          </p:cNvPr>
          <p:cNvSpPr/>
          <p:nvPr/>
        </p:nvSpPr>
        <p:spPr>
          <a:xfrm>
            <a:off x="9523579" y="3226231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手势识别</a:t>
            </a:r>
            <a:endParaRPr lang="en-US" sz="1600" dirty="0"/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382EFD7D-DA0C-4745-A09E-A840782F7FAA}"/>
              </a:ext>
            </a:extLst>
          </p:cNvPr>
          <p:cNvCxnSpPr>
            <a:cxnSpLocks/>
          </p:cNvCxnSpPr>
          <p:nvPr/>
        </p:nvCxnSpPr>
        <p:spPr>
          <a:xfrm>
            <a:off x="8880270" y="2715922"/>
            <a:ext cx="55303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E7019568-779B-43D3-8E0A-E72408DEEE39}"/>
              </a:ext>
            </a:extLst>
          </p:cNvPr>
          <p:cNvSpPr/>
          <p:nvPr/>
        </p:nvSpPr>
        <p:spPr>
          <a:xfrm>
            <a:off x="9523578" y="2583051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图片审核</a:t>
            </a:r>
            <a:endParaRPr lang="en-US" sz="1600" dirty="0"/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6EE1B373-F311-4974-9B34-25205B0D9A8C}"/>
              </a:ext>
            </a:extLst>
          </p:cNvPr>
          <p:cNvCxnSpPr>
            <a:cxnSpLocks/>
          </p:cNvCxnSpPr>
          <p:nvPr/>
        </p:nvCxnSpPr>
        <p:spPr>
          <a:xfrm>
            <a:off x="5928808" y="5075695"/>
            <a:ext cx="50137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3E0BDD55-4C0A-430D-B9D8-FB6B6183DF43}"/>
              </a:ext>
            </a:extLst>
          </p:cNvPr>
          <p:cNvSpPr/>
          <p:nvPr/>
        </p:nvSpPr>
        <p:spPr>
          <a:xfrm>
            <a:off x="6605699" y="4933627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语音搜索</a:t>
            </a:r>
            <a:endParaRPr lang="en-US" sz="1600" dirty="0"/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1F3F82C2-2AFE-4B2D-A2B6-AEAFEAFA8811}"/>
              </a:ext>
            </a:extLst>
          </p:cNvPr>
          <p:cNvCxnSpPr>
            <a:cxnSpLocks/>
          </p:cNvCxnSpPr>
          <p:nvPr/>
        </p:nvCxnSpPr>
        <p:spPr>
          <a:xfrm>
            <a:off x="8209641" y="5088610"/>
            <a:ext cx="50137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55DAF24A-7CF0-4D0E-8BF9-61D369202E29}"/>
              </a:ext>
            </a:extLst>
          </p:cNvPr>
          <p:cNvSpPr/>
          <p:nvPr/>
        </p:nvSpPr>
        <p:spPr>
          <a:xfrm>
            <a:off x="8814204" y="4921898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语音合成</a:t>
            </a:r>
            <a:endParaRPr lang="en-US" sz="1600" dirty="0"/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21AED487-00DB-4949-A663-F90A9C32246C}"/>
              </a:ext>
            </a:extLst>
          </p:cNvPr>
          <p:cNvCxnSpPr>
            <a:cxnSpLocks/>
          </p:cNvCxnSpPr>
          <p:nvPr/>
        </p:nvCxnSpPr>
        <p:spPr>
          <a:xfrm flipV="1">
            <a:off x="5830523" y="5605220"/>
            <a:ext cx="599655" cy="4299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359934FA-60EB-46E4-A261-A7ED1AB45D74}"/>
              </a:ext>
            </a:extLst>
          </p:cNvPr>
          <p:cNvSpPr/>
          <p:nvPr/>
        </p:nvSpPr>
        <p:spPr>
          <a:xfrm>
            <a:off x="6651709" y="5455403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新闻摘要</a:t>
            </a:r>
            <a:endParaRPr lang="en-US" sz="1600" dirty="0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44F496BA-053C-44D1-97AF-18B977C5FEBC}"/>
              </a:ext>
            </a:extLst>
          </p:cNvPr>
          <p:cNvSpPr/>
          <p:nvPr/>
        </p:nvSpPr>
        <p:spPr>
          <a:xfrm>
            <a:off x="6651708" y="5913791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情感分析</a:t>
            </a:r>
            <a:endParaRPr lang="en-US" sz="1600" dirty="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E0F872F-BFB5-4C5C-9D30-BD0CF4BF74EB}"/>
              </a:ext>
            </a:extLst>
          </p:cNvPr>
          <p:cNvSpPr/>
          <p:nvPr/>
        </p:nvSpPr>
        <p:spPr>
          <a:xfrm>
            <a:off x="6652413" y="6435567"/>
            <a:ext cx="1498169" cy="28413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短文本相似度</a:t>
            </a:r>
            <a:endParaRPr lang="en-US" sz="1600" dirty="0"/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DEEF295C-4355-4214-9885-F35ECF2DAFBA}"/>
              </a:ext>
            </a:extLst>
          </p:cNvPr>
          <p:cNvCxnSpPr>
            <a:cxnSpLocks/>
          </p:cNvCxnSpPr>
          <p:nvPr/>
        </p:nvCxnSpPr>
        <p:spPr>
          <a:xfrm flipV="1">
            <a:off x="5881349" y="6035196"/>
            <a:ext cx="694160" cy="206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BB9A8CF2-AC9F-40A5-97F3-0CF5C1FDFC2A}"/>
              </a:ext>
            </a:extLst>
          </p:cNvPr>
          <p:cNvCxnSpPr>
            <a:cxnSpLocks/>
          </p:cNvCxnSpPr>
          <p:nvPr/>
        </p:nvCxnSpPr>
        <p:spPr>
          <a:xfrm>
            <a:off x="5881879" y="6114263"/>
            <a:ext cx="693630" cy="4633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7BAC2F1F-796B-4ED9-8BE1-75A58B8BDA78}"/>
              </a:ext>
            </a:extLst>
          </p:cNvPr>
          <p:cNvCxnSpPr>
            <a:cxnSpLocks/>
          </p:cNvCxnSpPr>
          <p:nvPr/>
        </p:nvCxnSpPr>
        <p:spPr>
          <a:xfrm>
            <a:off x="8209641" y="6577634"/>
            <a:ext cx="50137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05489C17-5D30-4719-9B6A-8E4902921307}"/>
              </a:ext>
            </a:extLst>
          </p:cNvPr>
          <p:cNvSpPr/>
          <p:nvPr/>
        </p:nvSpPr>
        <p:spPr>
          <a:xfrm>
            <a:off x="8770070" y="6426422"/>
            <a:ext cx="1262499" cy="28413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文本分类</a:t>
            </a:r>
            <a:endParaRPr lang="en-US" sz="1600" dirty="0"/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4C3BC4A3-7224-4E01-861C-B09D8864A090}"/>
              </a:ext>
            </a:extLst>
          </p:cNvPr>
          <p:cNvCxnSpPr>
            <a:cxnSpLocks/>
          </p:cNvCxnSpPr>
          <p:nvPr/>
        </p:nvCxnSpPr>
        <p:spPr>
          <a:xfrm>
            <a:off x="8209641" y="5580576"/>
            <a:ext cx="50137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76777C56-B566-4F85-AFC3-EAB42C4C90C9}"/>
              </a:ext>
            </a:extLst>
          </p:cNvPr>
          <p:cNvSpPr/>
          <p:nvPr/>
        </p:nvSpPr>
        <p:spPr>
          <a:xfrm>
            <a:off x="8802052" y="5455403"/>
            <a:ext cx="1262499" cy="28413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文本标签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943906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A6A18B9-990B-4958-9582-6C4BDA169EA5}"/>
              </a:ext>
            </a:extLst>
          </p:cNvPr>
          <p:cNvSpPr txBox="1"/>
          <p:nvPr/>
        </p:nvSpPr>
        <p:spPr>
          <a:xfrm>
            <a:off x="387458" y="630265"/>
            <a:ext cx="1839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建模流程概览</a:t>
            </a:r>
            <a:endParaRPr lang="en-US" sz="2000" b="1" cap="all" dirty="0">
              <a:latin typeface="Segoe UI Light"/>
              <a:cs typeface="Segoe UI Light"/>
              <a:sym typeface="Segoe UI Light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6D219EC-41C7-42AF-ACCB-38EB7FB53B4D}"/>
              </a:ext>
            </a:extLst>
          </p:cNvPr>
          <p:cNvSpPr/>
          <p:nvPr/>
        </p:nvSpPr>
        <p:spPr>
          <a:xfrm>
            <a:off x="1748393" y="1910294"/>
            <a:ext cx="8151812" cy="1765935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625669C-2CCA-48D2-B981-F4A21546071F}"/>
              </a:ext>
            </a:extLst>
          </p:cNvPr>
          <p:cNvSpPr/>
          <p:nvPr/>
        </p:nvSpPr>
        <p:spPr>
          <a:xfrm>
            <a:off x="1993387" y="2145752"/>
            <a:ext cx="1178589" cy="1295019"/>
          </a:xfrm>
          <a:prstGeom prst="roundRect">
            <a:avLst>
              <a:gd name="adj" fmla="val 10000"/>
            </a:avLst>
          </a:prstGeom>
          <a:blipFill rotWithShape="1">
            <a:blip r:embed="rId2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510774B-C6A8-41D1-99ED-A453DCF7306F}"/>
              </a:ext>
            </a:extLst>
          </p:cNvPr>
          <p:cNvGrpSpPr/>
          <p:nvPr/>
        </p:nvGrpSpPr>
        <p:grpSpPr>
          <a:xfrm>
            <a:off x="1993387" y="3676229"/>
            <a:ext cx="1178589" cy="2158365"/>
            <a:chOff x="244994" y="1765935"/>
            <a:chExt cx="1178589" cy="2158365"/>
          </a:xfrm>
        </p:grpSpPr>
        <p:sp>
          <p:nvSpPr>
            <p:cNvPr id="29" name="Rectangle: Top Corners Rounded 28">
              <a:extLst>
                <a:ext uri="{FF2B5EF4-FFF2-40B4-BE49-F238E27FC236}">
                  <a16:creationId xmlns:a16="http://schemas.microsoft.com/office/drawing/2014/main" id="{4C639D34-DACC-4D36-9EFE-08B73BB91174}"/>
                </a:ext>
              </a:extLst>
            </p:cNvPr>
            <p:cNvSpPr/>
            <p:nvPr/>
          </p:nvSpPr>
          <p:spPr>
            <a:xfrm rot="10800000">
              <a:off x="244994" y="1765935"/>
              <a:ext cx="1178589" cy="2158365"/>
            </a:xfrm>
            <a:prstGeom prst="round2SameRect">
              <a:avLst>
                <a:gd name="adj1" fmla="val 10500"/>
                <a:gd name="adj2" fmla="val 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Rectangle: Top Corners Rounded 6">
              <a:extLst>
                <a:ext uri="{FF2B5EF4-FFF2-40B4-BE49-F238E27FC236}">
                  <a16:creationId xmlns:a16="http://schemas.microsoft.com/office/drawing/2014/main" id="{5636B3CE-1CF0-4B16-9DEE-75337AE9D47A}"/>
                </a:ext>
              </a:extLst>
            </p:cNvPr>
            <p:cNvSpPr txBox="1"/>
            <p:nvPr/>
          </p:nvSpPr>
          <p:spPr>
            <a:xfrm rot="21600000">
              <a:off x="281240" y="1765935"/>
              <a:ext cx="1106097" cy="21221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8232" tIns="78232" rIns="78232" bIns="78232" numCol="1" spcCol="1270" anchor="t" anchorCtr="0">
              <a:noAutofit/>
            </a:bodyPr>
            <a:lstStyle/>
            <a:p>
              <a:pPr marL="0" lvl="0" indent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u="sng" kern="1200" dirty="0"/>
                <a:t>数据加载</a:t>
              </a:r>
              <a:endParaRPr lang="en-US" altLang="zh-CN" sz="1200" u="sng" dirty="0"/>
            </a:p>
            <a:p>
              <a:pPr marL="0" lvl="0" indent="0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kern="1200" dirty="0"/>
                <a:t>对文件形式如</a:t>
              </a:r>
              <a:r>
                <a:rPr lang="en-US" altLang="zh-CN" sz="1200" kern="1200" dirty="0"/>
                <a:t>.csv</a:t>
              </a:r>
              <a:r>
                <a:rPr lang="zh-CN" altLang="en-US" sz="1200" dirty="0"/>
                <a:t>、</a:t>
              </a:r>
              <a:r>
                <a:rPr lang="zh-CN" altLang="en-US" sz="1200" kern="1200" dirty="0"/>
                <a:t>数据库如</a:t>
              </a:r>
              <a:r>
                <a:rPr lang="en-US" altLang="zh-CN" sz="1200" dirty="0"/>
                <a:t>MySQL</a:t>
              </a:r>
              <a:r>
                <a:rPr lang="zh-CN" altLang="en-US" sz="1200" dirty="0"/>
                <a:t>、数据仓库如</a:t>
              </a:r>
              <a:r>
                <a:rPr lang="en-US" altLang="zh-CN" sz="1200" dirty="0"/>
                <a:t>Hive, HBase</a:t>
              </a:r>
              <a:r>
                <a:rPr lang="zh-CN" altLang="en-US" sz="1200" dirty="0"/>
                <a:t>支持</a:t>
              </a:r>
              <a:endParaRPr lang="en-US" altLang="zh-CN" sz="1200" kern="1200" dirty="0"/>
            </a:p>
          </p:txBody>
        </p:sp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DB9AD4C-EF77-4BAF-A8C8-5A782863CF10}"/>
              </a:ext>
            </a:extLst>
          </p:cNvPr>
          <p:cNvSpPr/>
          <p:nvPr/>
        </p:nvSpPr>
        <p:spPr>
          <a:xfrm>
            <a:off x="3289836" y="2145752"/>
            <a:ext cx="1178589" cy="1295019"/>
          </a:xfrm>
          <a:prstGeom prst="roundRect">
            <a:avLst>
              <a:gd name="adj" fmla="val 10000"/>
            </a:avLst>
          </a:prstGeom>
          <a:blipFill rotWithShape="1">
            <a:blip r:embed="rId3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0BAA129-7F35-4DE1-8B3C-175AD7230EDB}"/>
              </a:ext>
            </a:extLst>
          </p:cNvPr>
          <p:cNvGrpSpPr/>
          <p:nvPr/>
        </p:nvGrpSpPr>
        <p:grpSpPr>
          <a:xfrm>
            <a:off x="3289836" y="3676229"/>
            <a:ext cx="1178589" cy="2158365"/>
            <a:chOff x="1541443" y="1765935"/>
            <a:chExt cx="1178589" cy="2158365"/>
          </a:xfrm>
        </p:grpSpPr>
        <p:sp>
          <p:nvSpPr>
            <p:cNvPr id="27" name="Rectangle: Top Corners Rounded 26">
              <a:extLst>
                <a:ext uri="{FF2B5EF4-FFF2-40B4-BE49-F238E27FC236}">
                  <a16:creationId xmlns:a16="http://schemas.microsoft.com/office/drawing/2014/main" id="{5B14D329-A499-4A87-A96B-1203FFF4450F}"/>
                </a:ext>
              </a:extLst>
            </p:cNvPr>
            <p:cNvSpPr/>
            <p:nvPr/>
          </p:nvSpPr>
          <p:spPr>
            <a:xfrm rot="10800000">
              <a:off x="1541443" y="1765935"/>
              <a:ext cx="1178589" cy="2158365"/>
            </a:xfrm>
            <a:prstGeom prst="round2SameRect">
              <a:avLst>
                <a:gd name="adj1" fmla="val 10500"/>
                <a:gd name="adj2" fmla="val 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Rectangle: Top Corners Rounded 9">
              <a:extLst>
                <a:ext uri="{FF2B5EF4-FFF2-40B4-BE49-F238E27FC236}">
                  <a16:creationId xmlns:a16="http://schemas.microsoft.com/office/drawing/2014/main" id="{5CAAD0B4-2176-48F1-84D3-272282EA329A}"/>
                </a:ext>
              </a:extLst>
            </p:cNvPr>
            <p:cNvSpPr txBox="1"/>
            <p:nvPr/>
          </p:nvSpPr>
          <p:spPr>
            <a:xfrm rot="21600000">
              <a:off x="1577689" y="1765935"/>
              <a:ext cx="1106097" cy="21221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8232" tIns="78232" rIns="78232" bIns="78232" numCol="1" spcCol="1270" anchor="t" anchorCtr="0">
              <a:noAutofit/>
            </a:bodyPr>
            <a:lstStyle/>
            <a:p>
              <a:pPr marL="0" lvl="0" indent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b="0" i="0" u="sng" kern="1200" dirty="0"/>
                <a:t>数据展示</a:t>
              </a:r>
              <a:endParaRPr lang="en-US" altLang="zh-CN" sz="1200" b="0" i="0" u="sng" kern="1200" dirty="0"/>
            </a:p>
            <a:p>
              <a:pPr marL="0" lvl="0" indent="0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kern="1200" dirty="0"/>
                <a:t>数据名称、类型及部分数据进行展示</a:t>
              </a:r>
              <a:endParaRPr lang="en-US" altLang="zh-CN" sz="1200" kern="1200" dirty="0"/>
            </a:p>
            <a:p>
              <a:pPr marL="0" lvl="0" indent="0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altLang="zh-CN" sz="1200" kern="1200" dirty="0"/>
            </a:p>
            <a:p>
              <a:pPr marL="0" lvl="0" indent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u="sng" dirty="0"/>
                <a:t>目标列更改</a:t>
              </a:r>
              <a:endParaRPr lang="en-US" altLang="zh-CN" sz="1200" u="sng" dirty="0"/>
            </a:p>
            <a:p>
              <a:pPr marL="0" lvl="0" indent="0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dirty="0"/>
                <a:t>用户灵活对目标列进行选择及更改，用户可同时手动标注数据</a:t>
              </a:r>
              <a:endParaRPr lang="en-US" altLang="zh-CN" sz="1200" dirty="0"/>
            </a:p>
          </p:txBody>
        </p:sp>
      </p:grp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5363058-CCAF-4429-AB1B-73FBD16D6C22}"/>
              </a:ext>
            </a:extLst>
          </p:cNvPr>
          <p:cNvSpPr/>
          <p:nvPr/>
        </p:nvSpPr>
        <p:spPr>
          <a:xfrm>
            <a:off x="4586284" y="2145752"/>
            <a:ext cx="1178589" cy="1295019"/>
          </a:xfrm>
          <a:prstGeom prst="roundRect">
            <a:avLst>
              <a:gd name="adj" fmla="val 10000"/>
            </a:avLst>
          </a:prstGeom>
          <a:blipFill rotWithShape="1">
            <a:blip r:embed="rId4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4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B648FAA-4F0E-45A8-84D7-640E41947B92}"/>
              </a:ext>
            </a:extLst>
          </p:cNvPr>
          <p:cNvGrpSpPr/>
          <p:nvPr/>
        </p:nvGrpSpPr>
        <p:grpSpPr>
          <a:xfrm>
            <a:off x="4586284" y="3676229"/>
            <a:ext cx="1178589" cy="2158365"/>
            <a:chOff x="2837891" y="1765935"/>
            <a:chExt cx="1178589" cy="2158365"/>
          </a:xfrm>
        </p:grpSpPr>
        <p:sp>
          <p:nvSpPr>
            <p:cNvPr id="25" name="Rectangle: Top Corners Rounded 24">
              <a:extLst>
                <a:ext uri="{FF2B5EF4-FFF2-40B4-BE49-F238E27FC236}">
                  <a16:creationId xmlns:a16="http://schemas.microsoft.com/office/drawing/2014/main" id="{66E4014B-3890-4088-A794-CF9FB8544CC6}"/>
                </a:ext>
              </a:extLst>
            </p:cNvPr>
            <p:cNvSpPr/>
            <p:nvPr/>
          </p:nvSpPr>
          <p:spPr>
            <a:xfrm rot="10800000">
              <a:off x="2837891" y="1765935"/>
              <a:ext cx="1178589" cy="2158365"/>
            </a:xfrm>
            <a:prstGeom prst="round2SameRect">
              <a:avLst>
                <a:gd name="adj1" fmla="val 10500"/>
                <a:gd name="adj2" fmla="val 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tangle: Top Corners Rounded 12">
              <a:extLst>
                <a:ext uri="{FF2B5EF4-FFF2-40B4-BE49-F238E27FC236}">
                  <a16:creationId xmlns:a16="http://schemas.microsoft.com/office/drawing/2014/main" id="{B3DD02DF-AB53-457F-8198-F6F502D9137C}"/>
                </a:ext>
              </a:extLst>
            </p:cNvPr>
            <p:cNvSpPr txBox="1"/>
            <p:nvPr/>
          </p:nvSpPr>
          <p:spPr>
            <a:xfrm rot="21600000">
              <a:off x="2874137" y="1765935"/>
              <a:ext cx="1106097" cy="21221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8232" tIns="78232" rIns="78232" bIns="78232" numCol="1" spcCol="1270" anchor="t" anchorCtr="0">
              <a:noAutofit/>
            </a:bodyPr>
            <a:lstStyle/>
            <a:p>
              <a:pPr marL="0" lvl="0" indent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u="sng" kern="1200" dirty="0"/>
                <a:t>数据预处理</a:t>
              </a:r>
              <a:endParaRPr lang="en-US" altLang="zh-CN" sz="1200" u="sng" kern="1200" dirty="0"/>
            </a:p>
            <a:p>
              <a:pPr marL="0" lvl="0" indent="0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kern="1200" dirty="0"/>
                <a:t>更改数据分布使数据更适合建模应用，提高模型预测准确度及泛化能力</a:t>
              </a:r>
              <a:endParaRPr lang="en-US" sz="1200" kern="1200" dirty="0"/>
            </a:p>
          </p:txBody>
        </p: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46E2287-E584-4721-8BF8-8415C9BE8B74}"/>
              </a:ext>
            </a:extLst>
          </p:cNvPr>
          <p:cNvSpPr/>
          <p:nvPr/>
        </p:nvSpPr>
        <p:spPr>
          <a:xfrm>
            <a:off x="5882733" y="2145752"/>
            <a:ext cx="1178589" cy="1295019"/>
          </a:xfrm>
          <a:prstGeom prst="roundRect">
            <a:avLst>
              <a:gd name="adj" fmla="val 10000"/>
            </a:avLst>
          </a:prstGeom>
          <a:blipFill rotWithShape="1">
            <a:blip r:embed="rId5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E0EE9B7-BC72-4DCA-84F7-017E99595F65}"/>
              </a:ext>
            </a:extLst>
          </p:cNvPr>
          <p:cNvGrpSpPr/>
          <p:nvPr/>
        </p:nvGrpSpPr>
        <p:grpSpPr>
          <a:xfrm>
            <a:off x="5882733" y="3676229"/>
            <a:ext cx="1178589" cy="2158365"/>
            <a:chOff x="4134340" y="1765935"/>
            <a:chExt cx="1178589" cy="2158365"/>
          </a:xfrm>
        </p:grpSpPr>
        <p:sp>
          <p:nvSpPr>
            <p:cNvPr id="23" name="Rectangle: Top Corners Rounded 22">
              <a:extLst>
                <a:ext uri="{FF2B5EF4-FFF2-40B4-BE49-F238E27FC236}">
                  <a16:creationId xmlns:a16="http://schemas.microsoft.com/office/drawing/2014/main" id="{60694328-53A5-4185-99EF-3828F295D560}"/>
                </a:ext>
              </a:extLst>
            </p:cNvPr>
            <p:cNvSpPr/>
            <p:nvPr/>
          </p:nvSpPr>
          <p:spPr>
            <a:xfrm rot="10800000">
              <a:off x="4134340" y="1765935"/>
              <a:ext cx="1178589" cy="2158365"/>
            </a:xfrm>
            <a:prstGeom prst="round2SameRect">
              <a:avLst>
                <a:gd name="adj1" fmla="val 10500"/>
                <a:gd name="adj2" fmla="val 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Rectangle: Top Corners Rounded 15">
              <a:extLst>
                <a:ext uri="{FF2B5EF4-FFF2-40B4-BE49-F238E27FC236}">
                  <a16:creationId xmlns:a16="http://schemas.microsoft.com/office/drawing/2014/main" id="{3BBE3DB9-6E41-4596-9B15-2B1D6719D2A4}"/>
                </a:ext>
              </a:extLst>
            </p:cNvPr>
            <p:cNvSpPr txBox="1"/>
            <p:nvPr/>
          </p:nvSpPr>
          <p:spPr>
            <a:xfrm rot="21600000">
              <a:off x="4170586" y="1765935"/>
              <a:ext cx="1106097" cy="21221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8232" tIns="78232" rIns="78232" bIns="78232" numCol="1" spcCol="1270" anchor="t" anchorCtr="0">
              <a:noAutofit/>
            </a:bodyPr>
            <a:lstStyle/>
            <a:p>
              <a:pPr marL="0" lvl="0" indent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u="sng" kern="1200" dirty="0"/>
                <a:t>模型构建集成</a:t>
              </a:r>
              <a:endParaRPr lang="en-US" altLang="zh-CN" sz="1200" u="sng" kern="1200" dirty="0"/>
            </a:p>
            <a:p>
              <a:pPr marL="0" lvl="0" indent="0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kern="1200" dirty="0"/>
                <a:t>针对不同问题利用不同算法包括机器学习及深度学习算法建模，参数自动化选择，对不同算法集成提高模型泛化能力</a:t>
              </a:r>
              <a:endParaRPr lang="en-US" sz="1200" kern="1200" dirty="0"/>
            </a:p>
          </p:txBody>
        </p:sp>
      </p:grp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CFB28D7-9B94-43F0-890C-84619536E5C1}"/>
              </a:ext>
            </a:extLst>
          </p:cNvPr>
          <p:cNvSpPr/>
          <p:nvPr/>
        </p:nvSpPr>
        <p:spPr>
          <a:xfrm>
            <a:off x="7179182" y="2145752"/>
            <a:ext cx="1178589" cy="1295019"/>
          </a:xfrm>
          <a:prstGeom prst="roundRect">
            <a:avLst>
              <a:gd name="adj" fmla="val 10000"/>
            </a:avLst>
          </a:prstGeom>
          <a:blipFill rotWithShape="1">
            <a:blip r:embed="rId6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6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90575F6-28B1-4F4C-88AB-410430F2419A}"/>
              </a:ext>
            </a:extLst>
          </p:cNvPr>
          <p:cNvGrpSpPr/>
          <p:nvPr/>
        </p:nvGrpSpPr>
        <p:grpSpPr>
          <a:xfrm>
            <a:off x="7179182" y="3676229"/>
            <a:ext cx="1178589" cy="2158365"/>
            <a:chOff x="5430789" y="1765935"/>
            <a:chExt cx="1178589" cy="2158365"/>
          </a:xfrm>
        </p:grpSpPr>
        <p:sp>
          <p:nvSpPr>
            <p:cNvPr id="21" name="Rectangle: Top Corners Rounded 20">
              <a:extLst>
                <a:ext uri="{FF2B5EF4-FFF2-40B4-BE49-F238E27FC236}">
                  <a16:creationId xmlns:a16="http://schemas.microsoft.com/office/drawing/2014/main" id="{3B88665F-BF8E-40D6-86D2-E7C323DCA81E}"/>
                </a:ext>
              </a:extLst>
            </p:cNvPr>
            <p:cNvSpPr/>
            <p:nvPr/>
          </p:nvSpPr>
          <p:spPr>
            <a:xfrm rot="10800000">
              <a:off x="5430789" y="1765935"/>
              <a:ext cx="1178589" cy="2158365"/>
            </a:xfrm>
            <a:prstGeom prst="round2SameRect">
              <a:avLst>
                <a:gd name="adj1" fmla="val 10500"/>
                <a:gd name="adj2" fmla="val 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angle: Top Corners Rounded 18">
              <a:extLst>
                <a:ext uri="{FF2B5EF4-FFF2-40B4-BE49-F238E27FC236}">
                  <a16:creationId xmlns:a16="http://schemas.microsoft.com/office/drawing/2014/main" id="{CE6D5460-13A4-4449-B3CE-0C8ACA383668}"/>
                </a:ext>
              </a:extLst>
            </p:cNvPr>
            <p:cNvSpPr txBox="1"/>
            <p:nvPr/>
          </p:nvSpPr>
          <p:spPr>
            <a:xfrm rot="21600000">
              <a:off x="5467035" y="1765935"/>
              <a:ext cx="1106097" cy="21221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8232" tIns="78232" rIns="78232" bIns="78232" numCol="1" spcCol="1270" anchor="t" anchorCtr="0">
              <a:noAutofit/>
            </a:bodyPr>
            <a:lstStyle/>
            <a:p>
              <a:pPr marL="0" lvl="0" indent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u="sng" dirty="0"/>
                <a:t>模型评估</a:t>
              </a:r>
              <a:endParaRPr lang="en-US" altLang="zh-CN" sz="1200" u="sng" dirty="0"/>
            </a:p>
            <a:p>
              <a:pPr marL="0" lvl="0" indent="0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dirty="0"/>
                <a:t>模型预测结果提供</a:t>
              </a:r>
              <a:r>
                <a:rPr lang="en-US" altLang="zh-CN" sz="1200" dirty="0" err="1"/>
                <a:t>BaseLine</a:t>
              </a:r>
              <a:r>
                <a:rPr lang="zh-CN" altLang="en-US" sz="1200" dirty="0"/>
                <a:t>及评分榜供用户分析，返回评估指标可视化</a:t>
              </a:r>
              <a:endParaRPr lang="en-US" altLang="zh-CN" sz="1200" dirty="0"/>
            </a:p>
            <a:p>
              <a:pPr marL="0" lvl="0" indent="0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200" kern="1200" dirty="0"/>
            </a:p>
            <a:p>
              <a:pPr marL="0" lvl="0" indent="0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u="sng" dirty="0"/>
                <a:t>模型重训练</a:t>
              </a:r>
              <a:endParaRPr lang="en-US" altLang="zh-CN" sz="1200" u="sng" dirty="0"/>
            </a:p>
            <a:p>
              <a:pPr marL="0" lvl="0" indent="0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dirty="0"/>
                <a:t>提供更多数据模型重训练</a:t>
              </a:r>
              <a:endParaRPr lang="en-US" altLang="zh-CN" sz="1200" dirty="0"/>
            </a:p>
          </p:txBody>
        </p:sp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A1439B2-C249-4C8D-8D67-87BC9ACEA92E}"/>
              </a:ext>
            </a:extLst>
          </p:cNvPr>
          <p:cNvSpPr/>
          <p:nvPr/>
        </p:nvSpPr>
        <p:spPr>
          <a:xfrm>
            <a:off x="8490339" y="2151832"/>
            <a:ext cx="1179579" cy="1298450"/>
          </a:xfrm>
          <a:prstGeom prst="roundRect">
            <a:avLst>
              <a:gd name="adj" fmla="val 10000"/>
            </a:avLst>
          </a:prstGeom>
          <a:blipFill rotWithShape="1">
            <a:blip r:embed="rId7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C2DF4DC-785C-4B49-A5A4-8B5B5C3C4E61}"/>
              </a:ext>
            </a:extLst>
          </p:cNvPr>
          <p:cNvGrpSpPr/>
          <p:nvPr/>
        </p:nvGrpSpPr>
        <p:grpSpPr>
          <a:xfrm>
            <a:off x="8476125" y="3676229"/>
            <a:ext cx="1178589" cy="2158365"/>
            <a:chOff x="6727732" y="1765935"/>
            <a:chExt cx="1178589" cy="2158365"/>
          </a:xfrm>
        </p:grpSpPr>
        <p:sp>
          <p:nvSpPr>
            <p:cNvPr id="19" name="Rectangle: Top Corners Rounded 18">
              <a:extLst>
                <a:ext uri="{FF2B5EF4-FFF2-40B4-BE49-F238E27FC236}">
                  <a16:creationId xmlns:a16="http://schemas.microsoft.com/office/drawing/2014/main" id="{6E5AFD36-2281-40AC-9C56-D2CCF733F2BE}"/>
                </a:ext>
              </a:extLst>
            </p:cNvPr>
            <p:cNvSpPr/>
            <p:nvPr/>
          </p:nvSpPr>
          <p:spPr>
            <a:xfrm rot="10800000">
              <a:off x="6727732" y="1765935"/>
              <a:ext cx="1178589" cy="2158365"/>
            </a:xfrm>
            <a:prstGeom prst="round2SameRect">
              <a:avLst>
                <a:gd name="adj1" fmla="val 10500"/>
                <a:gd name="adj2" fmla="val 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ectangle: Top Corners Rounded 21">
              <a:extLst>
                <a:ext uri="{FF2B5EF4-FFF2-40B4-BE49-F238E27FC236}">
                  <a16:creationId xmlns:a16="http://schemas.microsoft.com/office/drawing/2014/main" id="{849CA6BF-D847-4548-9092-06EEB753E82C}"/>
                </a:ext>
              </a:extLst>
            </p:cNvPr>
            <p:cNvSpPr txBox="1"/>
            <p:nvPr/>
          </p:nvSpPr>
          <p:spPr>
            <a:xfrm rot="21600000">
              <a:off x="6763978" y="1765935"/>
              <a:ext cx="1106097" cy="21221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8232" tIns="78232" rIns="78232" bIns="78232" numCol="1" spcCol="1270" anchor="t" anchorCtr="0">
              <a:noAutofit/>
            </a:bodyPr>
            <a:lstStyle/>
            <a:p>
              <a:pPr marL="0" lvl="0" indent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u="sng" kern="1200" dirty="0"/>
                <a:t>模型部署调用</a:t>
              </a:r>
              <a:endParaRPr lang="en-US" altLang="zh-CN" sz="1200" u="sng" kern="1200" dirty="0"/>
            </a:p>
            <a:p>
              <a:pPr marL="0" lvl="0" indent="0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dirty="0"/>
                <a:t>自动化部署用户选择模型，提供相应</a:t>
              </a:r>
              <a:r>
                <a:rPr lang="en-US" altLang="zh-CN" sz="1200" dirty="0"/>
                <a:t>API</a:t>
              </a:r>
              <a:r>
                <a:rPr lang="zh-CN" altLang="en-US" sz="1200" dirty="0"/>
                <a:t>供用户使用</a:t>
              </a:r>
              <a:endParaRPr lang="en-US" altLang="zh-CN" sz="1200" dirty="0"/>
            </a:p>
            <a:p>
              <a:pPr marL="0" lvl="0" indent="0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200" u="sng" dirty="0"/>
            </a:p>
            <a:p>
              <a:pPr marL="0" lvl="0" indent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u="sng" kern="1200" dirty="0"/>
                <a:t>模型监控</a:t>
              </a:r>
              <a:endParaRPr lang="en-US" altLang="zh-CN" sz="1200" u="sng" kern="1200" dirty="0"/>
            </a:p>
            <a:p>
              <a:pPr marL="0" lvl="0" indent="0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zh-CN" altLang="en-US" sz="1200" dirty="0"/>
                <a:t>对管理员提供对不同版本模型监控功能</a:t>
              </a:r>
              <a:endParaRPr lang="en-US" sz="1200" kern="1200" dirty="0"/>
            </a:p>
            <a:p>
              <a:pPr marL="0" lvl="0" indent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2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277690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A6A18B9-990B-4958-9582-6C4BDA169EA5}"/>
              </a:ext>
            </a:extLst>
          </p:cNvPr>
          <p:cNvSpPr txBox="1"/>
          <p:nvPr/>
        </p:nvSpPr>
        <p:spPr>
          <a:xfrm>
            <a:off x="475282" y="656096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建模流程</a:t>
            </a:r>
            <a:endParaRPr lang="en-US" sz="2000" b="1" cap="all" dirty="0">
              <a:latin typeface="Segoe UI Light"/>
              <a:cs typeface="Segoe UI Light"/>
              <a:sym typeface="Segoe UI Light"/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C960E2D-9030-4DE8-AB07-81ED17CF97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316422"/>
              </p:ext>
            </p:extLst>
          </p:nvPr>
        </p:nvGraphicFramePr>
        <p:xfrm>
          <a:off x="1685870" y="1397255"/>
          <a:ext cx="7411635" cy="4833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Arrow: Chevron 4">
            <a:extLst>
              <a:ext uri="{FF2B5EF4-FFF2-40B4-BE49-F238E27FC236}">
                <a16:creationId xmlns:a16="http://schemas.microsoft.com/office/drawing/2014/main" id="{D582E11C-D6C9-4B74-8531-F19EB608E7E9}"/>
              </a:ext>
            </a:extLst>
          </p:cNvPr>
          <p:cNvSpPr txBox="1"/>
          <p:nvPr/>
        </p:nvSpPr>
        <p:spPr>
          <a:xfrm>
            <a:off x="1777140" y="976497"/>
            <a:ext cx="1276026" cy="42075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335" tIns="13335" rIns="13335" bIns="13335" numCol="1" spcCol="1270" anchor="ctr" anchorCtr="0">
            <a:noAutofit/>
          </a:bodyPr>
          <a:lstStyle/>
          <a:p>
            <a:pPr marL="0" lvl="0" indent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2100" kern="1200" dirty="0"/>
              <a:t>开始</a:t>
            </a:r>
            <a:endParaRPr lang="en-US" sz="2100" kern="1200" dirty="0"/>
          </a:p>
        </p:txBody>
      </p:sp>
      <p:sp>
        <p:nvSpPr>
          <p:cNvPr id="10" name="Arrow: Chevron 4">
            <a:extLst>
              <a:ext uri="{FF2B5EF4-FFF2-40B4-BE49-F238E27FC236}">
                <a16:creationId xmlns:a16="http://schemas.microsoft.com/office/drawing/2014/main" id="{825161B2-4157-4795-8300-FD372C525E32}"/>
              </a:ext>
            </a:extLst>
          </p:cNvPr>
          <p:cNvSpPr txBox="1"/>
          <p:nvPr/>
        </p:nvSpPr>
        <p:spPr>
          <a:xfrm>
            <a:off x="1777140" y="6123433"/>
            <a:ext cx="1012555" cy="35361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335" tIns="13335" rIns="13335" bIns="13335" numCol="1" spcCol="1270" anchor="ctr" anchorCtr="0">
            <a:noAutofit/>
          </a:bodyPr>
          <a:lstStyle/>
          <a:p>
            <a:pPr marL="0" lvl="0" indent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2100" kern="1200" dirty="0"/>
              <a:t>结</a:t>
            </a:r>
            <a:endParaRPr lang="en-US" sz="2100" kern="1200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6004DC5-060F-4D3E-B35E-FB8DAB0D2265}"/>
              </a:ext>
            </a:extLst>
          </p:cNvPr>
          <p:cNvSpPr/>
          <p:nvPr/>
        </p:nvSpPr>
        <p:spPr>
          <a:xfrm>
            <a:off x="1685870" y="1157207"/>
            <a:ext cx="1210588" cy="240047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开始</a:t>
            </a:r>
            <a:endParaRPr lang="en-US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2981C9D-CE1D-4C49-9044-49AD31D5EC00}"/>
              </a:ext>
            </a:extLst>
          </p:cNvPr>
          <p:cNvSpPr/>
          <p:nvPr/>
        </p:nvSpPr>
        <p:spPr>
          <a:xfrm>
            <a:off x="1678123" y="6230319"/>
            <a:ext cx="1210588" cy="240047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结束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36132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A6A18B9-990B-4958-9582-6C4BDA169EA5}"/>
              </a:ext>
            </a:extLst>
          </p:cNvPr>
          <p:cNvSpPr txBox="1"/>
          <p:nvPr/>
        </p:nvSpPr>
        <p:spPr>
          <a:xfrm>
            <a:off x="485614" y="630265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平台算法支持</a:t>
            </a:r>
            <a:endParaRPr lang="en-US" sz="2000" b="1" cap="all" dirty="0">
              <a:latin typeface="Segoe UI Light"/>
              <a:cs typeface="Segoe UI Light"/>
              <a:sym typeface="Segoe UI Ligh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866FECC-5817-486F-A762-A0F961C9E83A}"/>
              </a:ext>
            </a:extLst>
          </p:cNvPr>
          <p:cNvSpPr txBox="1"/>
          <p:nvPr/>
        </p:nvSpPr>
        <p:spPr>
          <a:xfrm>
            <a:off x="795580" y="1400014"/>
            <a:ext cx="10213383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/>
              <a:t>Sklearn</a:t>
            </a:r>
            <a:r>
              <a:rPr lang="en-US" dirty="0"/>
              <a:t>:</a:t>
            </a:r>
          </a:p>
          <a:p>
            <a:r>
              <a:rPr lang="en-US" dirty="0"/>
              <a:t>	</a:t>
            </a:r>
            <a:r>
              <a:rPr lang="zh-CN" altLang="en-US" dirty="0"/>
              <a:t>分类</a:t>
            </a:r>
            <a:r>
              <a:rPr lang="en-US" dirty="0"/>
              <a:t>: Logistic Regression, Random Forest Classification, Support Vector Classification, Gradient Boosting Tree Classification, </a:t>
            </a:r>
            <a:r>
              <a:rPr lang="en-US" dirty="0" err="1"/>
              <a:t>Adaboost</a:t>
            </a:r>
            <a:r>
              <a:rPr lang="en-US" dirty="0"/>
              <a:t> Classification</a:t>
            </a:r>
          </a:p>
          <a:p>
            <a:r>
              <a:rPr lang="en-US" dirty="0"/>
              <a:t>	</a:t>
            </a:r>
            <a:r>
              <a:rPr lang="zh-CN" altLang="en-US" dirty="0"/>
              <a:t>回归</a:t>
            </a:r>
            <a:r>
              <a:rPr lang="en-US" dirty="0"/>
              <a:t>: Linear Regression, Support Vector Regression, Random Forest Regression</a:t>
            </a:r>
          </a:p>
          <a:p>
            <a:r>
              <a:rPr lang="en-US" dirty="0"/>
              <a:t>	</a:t>
            </a:r>
            <a:r>
              <a:rPr lang="zh-CN" altLang="en-US" dirty="0"/>
              <a:t>聚类</a:t>
            </a:r>
            <a:r>
              <a:rPr lang="en-US" dirty="0"/>
              <a:t>: </a:t>
            </a:r>
            <a:r>
              <a:rPr lang="en-US" dirty="0" err="1"/>
              <a:t>Kmean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r>
              <a:rPr lang="en-US" b="1" dirty="0" err="1"/>
              <a:t>Pyspark</a:t>
            </a:r>
            <a:r>
              <a:rPr lang="en-US" dirty="0"/>
              <a:t>:</a:t>
            </a:r>
          </a:p>
          <a:p>
            <a:r>
              <a:rPr lang="en-US" dirty="0"/>
              <a:t>	</a:t>
            </a:r>
            <a:r>
              <a:rPr lang="zh-CN" altLang="en-US" dirty="0"/>
              <a:t>分类</a:t>
            </a:r>
            <a:r>
              <a:rPr lang="en-US" dirty="0"/>
              <a:t>:  Logistic Regression, Random Forest Classification, Support Vector Classification, Gradient Boosting Tree Classification</a:t>
            </a:r>
          </a:p>
          <a:p>
            <a:r>
              <a:rPr lang="zh-CN" altLang="en-US" dirty="0"/>
              <a:t>回归</a:t>
            </a:r>
            <a:r>
              <a:rPr lang="en-US" dirty="0"/>
              <a:t>: Linear Regression, Support Vector Regression, Random Forest Regression</a:t>
            </a:r>
          </a:p>
          <a:p>
            <a:r>
              <a:rPr lang="en-US" dirty="0"/>
              <a:t>	</a:t>
            </a:r>
            <a:r>
              <a:rPr lang="zh-CN" altLang="en-US" dirty="0"/>
              <a:t>聚类</a:t>
            </a:r>
            <a:r>
              <a:rPr lang="en-US" dirty="0"/>
              <a:t>: </a:t>
            </a:r>
            <a:r>
              <a:rPr lang="en-US" dirty="0" err="1"/>
              <a:t>KMeans</a:t>
            </a:r>
            <a:endParaRPr lang="en-US" dirty="0"/>
          </a:p>
          <a:p>
            <a:r>
              <a:rPr lang="en-US" dirty="0"/>
              <a:t>        	</a:t>
            </a:r>
            <a:r>
              <a:rPr lang="zh-CN" altLang="en-US" dirty="0"/>
              <a:t>推荐</a:t>
            </a:r>
            <a:r>
              <a:rPr lang="en-US" dirty="0"/>
              <a:t>: Alternating Least Squa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TensorFlow</a:t>
            </a:r>
            <a:r>
              <a:rPr lang="en-US" dirty="0"/>
              <a:t>:</a:t>
            </a:r>
          </a:p>
          <a:p>
            <a:r>
              <a:rPr lang="en-US" dirty="0"/>
              <a:t>	</a:t>
            </a:r>
            <a:r>
              <a:rPr lang="zh-CN" altLang="en-US" dirty="0"/>
              <a:t>分类</a:t>
            </a:r>
            <a:r>
              <a:rPr lang="en-US" dirty="0"/>
              <a:t>: DNN Classifier, CNN Classifier, LSTM Classifier, Residual Classifier, </a:t>
            </a:r>
            <a:r>
              <a:rPr lang="en-US" dirty="0" err="1"/>
              <a:t>DenseNet</a:t>
            </a:r>
            <a:r>
              <a:rPr lang="en-US" dirty="0"/>
              <a:t> </a:t>
            </a:r>
            <a:r>
              <a:rPr lang="en-US" dirty="0" err="1"/>
              <a:t>Classifer</a:t>
            </a:r>
            <a:endParaRPr lang="en-US" dirty="0"/>
          </a:p>
          <a:p>
            <a:r>
              <a:rPr lang="en-US" dirty="0"/>
              <a:t>	</a:t>
            </a:r>
            <a:r>
              <a:rPr lang="zh-CN" altLang="en-US" dirty="0"/>
              <a:t>回归</a:t>
            </a:r>
            <a:r>
              <a:rPr lang="en-US" dirty="0"/>
              <a:t>: DNN Regression, CNN Regression, LSTM Regression, Residual Regression, </a:t>
            </a:r>
            <a:r>
              <a:rPr lang="en-US" dirty="0" err="1"/>
              <a:t>DenseNet</a:t>
            </a:r>
            <a:r>
              <a:rPr lang="en-US" dirty="0"/>
              <a:t> Regression</a:t>
            </a:r>
          </a:p>
          <a:p>
            <a:r>
              <a:rPr lang="en-US" dirty="0"/>
              <a:t>	</a:t>
            </a:r>
            <a:r>
              <a:rPr lang="zh-CN" altLang="en-US" dirty="0"/>
              <a:t>推荐</a:t>
            </a:r>
            <a:r>
              <a:rPr lang="en-US" dirty="0"/>
              <a:t>: Deep Learning Ba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b="1" dirty="0"/>
              <a:t>其他框架支持</a:t>
            </a:r>
            <a:endParaRPr lang="en-US" b="1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0526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A6A18B9-990B-4958-9582-6C4BDA169EA5}"/>
              </a:ext>
            </a:extLst>
          </p:cNvPr>
          <p:cNvSpPr txBox="1"/>
          <p:nvPr/>
        </p:nvSpPr>
        <p:spPr>
          <a:xfrm>
            <a:off x="485614" y="630265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模型排名</a:t>
            </a:r>
            <a:endParaRPr lang="en-US" sz="2000" b="1" cap="all" dirty="0">
              <a:latin typeface="Segoe UI Light"/>
              <a:cs typeface="Segoe UI Light"/>
              <a:sym typeface="Segoe UI Ligh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135EA7-BC04-4C20-8FF2-88306BB5A3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4414" y="2140624"/>
            <a:ext cx="7286429" cy="39243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4FCADB5-87EE-426D-A292-5D6DF6C6957F}"/>
              </a:ext>
            </a:extLst>
          </p:cNvPr>
          <p:cNvSpPr txBox="1"/>
          <p:nvPr/>
        </p:nvSpPr>
        <p:spPr>
          <a:xfrm>
            <a:off x="754251" y="1276026"/>
            <a:ext cx="7640664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不同算法及集成分别训练并评估，提供</a:t>
            </a:r>
            <a:r>
              <a:rPr lang="en-US" altLang="zh-CN" dirty="0" err="1">
                <a:solidFill>
                  <a:schemeClr val="bg1"/>
                </a:solidFill>
              </a:rPr>
              <a:t>BaseLine</a:t>
            </a:r>
            <a:r>
              <a:rPr lang="zh-CN" altLang="en-US" dirty="0">
                <a:solidFill>
                  <a:schemeClr val="bg1"/>
                </a:solidFill>
              </a:rPr>
              <a:t>及</a:t>
            </a:r>
            <a:r>
              <a:rPr lang="en-US" altLang="zh-CN" dirty="0" err="1">
                <a:solidFill>
                  <a:schemeClr val="bg1"/>
                </a:solidFill>
              </a:rPr>
              <a:t>LeaderBoard</a:t>
            </a:r>
            <a:r>
              <a:rPr lang="zh-CN" altLang="en-US" dirty="0">
                <a:solidFill>
                  <a:schemeClr val="bg1"/>
                </a:solidFill>
              </a:rPr>
              <a:t>供用户分析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9498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A6A18B9-990B-4958-9582-6C4BDA169EA5}"/>
              </a:ext>
            </a:extLst>
          </p:cNvPr>
          <p:cNvSpPr txBox="1"/>
          <p:nvPr/>
        </p:nvSpPr>
        <p:spPr>
          <a:xfrm>
            <a:off x="485614" y="630265"/>
            <a:ext cx="21739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现有</a:t>
            </a:r>
            <a:r>
              <a:rPr lang="en-US" altLang="zh-CN" sz="2000" b="1" cap="all" dirty="0" err="1">
                <a:latin typeface="Segoe UI Light"/>
                <a:cs typeface="Segoe UI Light"/>
                <a:sym typeface="Segoe UI Light"/>
              </a:rPr>
              <a:t>automl</a:t>
            </a:r>
            <a:r>
              <a:rPr lang="zh-CN" altLang="en-US" sz="2000" b="1" cap="all" dirty="0">
                <a:latin typeface="Segoe UI Light"/>
                <a:cs typeface="Segoe UI Light"/>
                <a:sym typeface="Segoe UI Light"/>
              </a:rPr>
              <a:t>应用</a:t>
            </a:r>
            <a:endParaRPr lang="en-US" sz="2000" b="1" cap="all" dirty="0">
              <a:latin typeface="Segoe UI Light"/>
              <a:cs typeface="Segoe UI Light"/>
              <a:sym typeface="Segoe UI Light"/>
            </a:endParaRPr>
          </a:p>
        </p:txBody>
      </p:sp>
      <p:pic>
        <p:nvPicPr>
          <p:cNvPr id="4" name="Picture 3" descr="C:\Users\GUANGQ~1.LU\AppData\Local\Temp\1545032244(1).png">
            <a:extLst>
              <a:ext uri="{FF2B5EF4-FFF2-40B4-BE49-F238E27FC236}">
                <a16:creationId xmlns:a16="http://schemas.microsoft.com/office/drawing/2014/main" id="{A193B055-EC38-4072-BFAE-84F8D41BC7FE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101" y="1853565"/>
            <a:ext cx="5943600" cy="1575435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CE9F7D-4414-4821-B312-A2D26AC2C7B8}"/>
              </a:ext>
            </a:extLst>
          </p:cNvPr>
          <p:cNvSpPr txBox="1"/>
          <p:nvPr/>
        </p:nvSpPr>
        <p:spPr>
          <a:xfrm>
            <a:off x="1090908" y="1353519"/>
            <a:ext cx="26028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</a:t>
            </a:r>
            <a:r>
              <a:rPr lang="en-US" altLang="zh-CN" dirty="0"/>
              <a:t>oogle </a:t>
            </a:r>
            <a:r>
              <a:rPr lang="en-US" altLang="zh-CN" dirty="0" err="1"/>
              <a:t>AutoML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91BAFCC-49D2-489C-8829-31DA52AA95D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061632" y="3979771"/>
            <a:ext cx="4084955" cy="204978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CA44691-5CA1-4D02-9445-D0D7EFF771DA}"/>
              </a:ext>
            </a:extLst>
          </p:cNvPr>
          <p:cNvSpPr txBox="1"/>
          <p:nvPr/>
        </p:nvSpPr>
        <p:spPr>
          <a:xfrm>
            <a:off x="1061632" y="3621437"/>
            <a:ext cx="24254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MetaLabs</a:t>
            </a:r>
            <a:endParaRPr lang="en-US" dirty="0"/>
          </a:p>
        </p:txBody>
      </p:sp>
      <p:pic>
        <p:nvPicPr>
          <p:cNvPr id="10" name="Picture 9" descr="A close up of a map&#10;&#10;Description generated with high confidence">
            <a:extLst>
              <a:ext uri="{FF2B5EF4-FFF2-40B4-BE49-F238E27FC236}">
                <a16:creationId xmlns:a16="http://schemas.microsoft.com/office/drawing/2014/main" id="{647967B9-1B2B-40A2-A52C-576CB5899D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9518" y="3019106"/>
            <a:ext cx="4515241" cy="36198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1B703F9-488C-4808-A7E8-7CE71BB85CF8}"/>
              </a:ext>
            </a:extLst>
          </p:cNvPr>
          <p:cNvSpPr txBox="1"/>
          <p:nvPr/>
        </p:nvSpPr>
        <p:spPr>
          <a:xfrm>
            <a:off x="7341031" y="2350576"/>
            <a:ext cx="3363132" cy="377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ccenture AIP </a:t>
            </a:r>
          </a:p>
        </p:txBody>
      </p:sp>
    </p:spTree>
    <p:extLst>
      <p:ext uri="{BB962C8B-B14F-4D97-AF65-F5344CB8AC3E}">
        <p14:creationId xmlns:p14="http://schemas.microsoft.com/office/powerpoint/2010/main" val="971157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5/8/2017 10:01:56 AM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5/8/2017 10:01:56 AM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5/8/2017 10:01:56 AM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5/8/2017 10:01:56 AM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5/8/2017 10:01:56 AM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5/8/2017 10:01:56 AM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5/8/2017 10:01:56 AM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5/8/2017 10:01:56 AM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sz="12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</a:theme>
</file>

<file path=ppt/theme/theme2.xml><?xml version="1.0" encoding="utf-8"?>
<a:theme xmlns:a="http://schemas.openxmlformats.org/drawingml/2006/main" name="1_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sz="12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</a:theme>
</file>

<file path=ppt/theme/theme3.xml><?xml version="1.0" encoding="utf-8"?>
<a:theme xmlns:a="http://schemas.openxmlformats.org/drawingml/2006/main" name="2_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sz="12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</a:theme>
</file>

<file path=ppt/theme/theme4.xml><?xml version="1.0" encoding="utf-8"?>
<a:theme xmlns:a="http://schemas.openxmlformats.org/drawingml/2006/main" name="2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sz="12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147</TotalTime>
  <Words>1085</Words>
  <Application>Microsoft Office PowerPoint</Application>
  <PresentationFormat>Widescreen</PresentationFormat>
  <Paragraphs>196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1" baseType="lpstr">
      <vt:lpstr>等线</vt:lpstr>
      <vt:lpstr>等线 Light</vt:lpstr>
      <vt:lpstr>微软雅黑</vt:lpstr>
      <vt:lpstr>宋体</vt:lpstr>
      <vt:lpstr>Arial</vt:lpstr>
      <vt:lpstr>Arial Black</vt:lpstr>
      <vt:lpstr>Arial Bold</vt:lpstr>
      <vt:lpstr>Segoe UI Light</vt:lpstr>
      <vt:lpstr>Accenture aug2016</vt:lpstr>
      <vt:lpstr>1_Accenture aug2016</vt:lpstr>
      <vt:lpstr>2_Accenture aug2016</vt:lpstr>
      <vt:lpstr>2_Office 主题​​</vt:lpstr>
      <vt:lpstr>3_Accenture aug2016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Yu, Zhengguang</dc:creator>
  <cp:lastModifiedBy>Lu, Guangqiang</cp:lastModifiedBy>
  <cp:revision>1351</cp:revision>
  <cp:lastPrinted>2018-01-28T04:18:38Z</cp:lastPrinted>
  <dcterms:created xsi:type="dcterms:W3CDTF">2018-01-18T16:53:48Z</dcterms:created>
  <dcterms:modified xsi:type="dcterms:W3CDTF">2018-12-27T02:32:37Z</dcterms:modified>
</cp:coreProperties>
</file>